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28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96" r:id="rId4"/>
  </p:sldMasterIdLst>
  <p:notesMasterIdLst>
    <p:notesMasterId r:id="rId19"/>
  </p:notesMasterIdLst>
  <p:handoutMasterIdLst>
    <p:handoutMasterId r:id="rId20"/>
  </p:handoutMasterIdLst>
  <p:sldIdLst>
    <p:sldId id="9049" r:id="rId5"/>
    <p:sldId id="9050" r:id="rId6"/>
    <p:sldId id="9069" r:id="rId7"/>
    <p:sldId id="9054" r:id="rId8"/>
    <p:sldId id="9057" r:id="rId9"/>
    <p:sldId id="9058" r:id="rId10"/>
    <p:sldId id="9059" r:id="rId11"/>
    <p:sldId id="9060" r:id="rId12"/>
    <p:sldId id="9062" r:id="rId13"/>
    <p:sldId id="9051" r:id="rId14"/>
    <p:sldId id="9065" r:id="rId15"/>
    <p:sldId id="9070" r:id="rId16"/>
    <p:sldId id="9067" r:id="rId17"/>
    <p:sldId id="9068" r:id="rId18"/>
  </p:sldIdLst>
  <p:sldSz cx="12192000" cy="6858000"/>
  <p:notesSz cx="6858000" cy="9144000"/>
  <p:custDataLst>
    <p:tags r:id="rId21"/>
  </p:custDataLst>
  <p:defaultTextStyle>
    <a:defPPr>
      <a:defRPr lang="de-DE"/>
    </a:defPPr>
    <a:lvl1pPr marL="0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77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55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532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709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886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063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240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417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isch, Nicholas" initials="RN" lastIdx="2" clrIdx="0">
    <p:extLst>
      <p:ext uri="{19B8F6BF-5375-455C-9EA6-DF929625EA0E}">
        <p15:presenceInfo xmlns:p15="http://schemas.microsoft.com/office/powerpoint/2012/main" userId="S::nicholas.risch@trumpf.com::0138eea1-eee4-4aff-a966-937e27e7375e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85172"/>
    <a:srgbClr val="7F7F7F"/>
    <a:srgbClr val="D0D0D0"/>
    <a:srgbClr val="575756"/>
    <a:srgbClr val="8094AF"/>
    <a:srgbClr val="BBD03A"/>
    <a:srgbClr val="0D3174"/>
    <a:srgbClr val="333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8274A82-0ECD-4E67-A8AC-3361BE7616FA}" v="170" dt="2023-04-20T15:14:24.00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503" autoAdjust="0"/>
    <p:restoredTop sz="96357" autoAdjust="0"/>
  </p:normalViewPr>
  <p:slideViewPr>
    <p:cSldViewPr snapToGrid="0">
      <p:cViewPr varScale="1">
        <p:scale>
          <a:sx n="110" d="100"/>
          <a:sy n="110" d="100"/>
        </p:scale>
        <p:origin x="408" y="10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-2658"/>
    </p:cViewPr>
  </p:sorterViewPr>
  <p:notesViewPr>
    <p:cSldViewPr snapToGrid="0">
      <p:cViewPr varScale="1">
        <p:scale>
          <a:sx n="84" d="100"/>
          <a:sy n="84" d="100"/>
        </p:scale>
        <p:origin x="3828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presProps" Target="presProps.xml"/><Relationship Id="rId28" Type="http://schemas.microsoft.com/office/2015/10/relationships/revisionInfo" Target="revisionInfo.xml"/><Relationship Id="rId10" Type="http://schemas.openxmlformats.org/officeDocument/2006/relationships/slide" Target="slides/slide6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commentAuthors" Target="commentAuthors.xml"/><Relationship Id="rId27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ieferle, Thomas" userId="37417873-7ec6-4de8-adb8-adf312d35d5d" providerId="ADAL" clId="{F8274A82-0ECD-4E67-A8AC-3361BE7616FA}"/>
    <pc:docChg chg="undo custSel modSld">
      <pc:chgData name="Kieferle, Thomas" userId="37417873-7ec6-4de8-adb8-adf312d35d5d" providerId="ADAL" clId="{F8274A82-0ECD-4E67-A8AC-3361BE7616FA}" dt="2023-04-21T05:17:08.398" v="870" actId="20577"/>
      <pc:docMkLst>
        <pc:docMk/>
      </pc:docMkLst>
      <pc:sldChg chg="addSp delSp modSp mod">
        <pc:chgData name="Kieferle, Thomas" userId="37417873-7ec6-4de8-adb8-adf312d35d5d" providerId="ADAL" clId="{F8274A82-0ECD-4E67-A8AC-3361BE7616FA}" dt="2023-04-21T05:17:08.398" v="870" actId="20577"/>
        <pc:sldMkLst>
          <pc:docMk/>
          <pc:sldMk cId="1089739216" sldId="9049"/>
        </pc:sldMkLst>
        <pc:spChg chg="add del">
          <ac:chgData name="Kieferle, Thomas" userId="37417873-7ec6-4de8-adb8-adf312d35d5d" providerId="ADAL" clId="{F8274A82-0ECD-4E67-A8AC-3361BE7616FA}" dt="2023-04-20T12:21:18.754" v="162"/>
          <ac:spMkLst>
            <pc:docMk/>
            <pc:sldMk cId="1089739216" sldId="9049"/>
            <ac:spMk id="5" creationId="{DACBB86F-821C-927C-E473-E7AA21968D62}"/>
          </ac:spMkLst>
        </pc:spChg>
        <pc:spChg chg="add del mod">
          <ac:chgData name="Kieferle, Thomas" userId="37417873-7ec6-4de8-adb8-adf312d35d5d" providerId="ADAL" clId="{F8274A82-0ECD-4E67-A8AC-3361BE7616FA}" dt="2023-04-20T12:20:55.094" v="161"/>
          <ac:spMkLst>
            <pc:docMk/>
            <pc:sldMk cId="1089739216" sldId="9049"/>
            <ac:spMk id="7" creationId="{B4720E58-751E-6BE4-9E98-BCD7DA0263B4}"/>
          </ac:spMkLst>
        </pc:spChg>
        <pc:spChg chg="mod">
          <ac:chgData name="Kieferle, Thomas" userId="37417873-7ec6-4de8-adb8-adf312d35d5d" providerId="ADAL" clId="{F8274A82-0ECD-4E67-A8AC-3361BE7616FA}" dt="2023-04-21T05:17:08.398" v="870" actId="20577"/>
          <ac:spMkLst>
            <pc:docMk/>
            <pc:sldMk cId="1089739216" sldId="9049"/>
            <ac:spMk id="9" creationId="{04C97DCD-AC7B-4334-9D8A-7B164208EC38}"/>
          </ac:spMkLst>
        </pc:spChg>
        <pc:spChg chg="add del mod">
          <ac:chgData name="Kieferle, Thomas" userId="37417873-7ec6-4de8-adb8-adf312d35d5d" providerId="ADAL" clId="{F8274A82-0ECD-4E67-A8AC-3361BE7616FA}" dt="2023-04-20T12:20:49.532" v="144"/>
          <ac:spMkLst>
            <pc:docMk/>
            <pc:sldMk cId="1089739216" sldId="9049"/>
            <ac:spMk id="12" creationId="{95E636D8-27E1-F5EC-0427-504360F56E57}"/>
          </ac:spMkLst>
        </pc:spChg>
        <pc:spChg chg="add del mod">
          <ac:chgData name="Kieferle, Thomas" userId="37417873-7ec6-4de8-adb8-adf312d35d5d" providerId="ADAL" clId="{F8274A82-0ECD-4E67-A8AC-3361BE7616FA}" dt="2023-04-20T12:20:48.402" v="123"/>
          <ac:spMkLst>
            <pc:docMk/>
            <pc:sldMk cId="1089739216" sldId="9049"/>
            <ac:spMk id="18" creationId="{6091C3C0-F0FB-8480-2528-EAF3F9A1ECC3}"/>
          </ac:spMkLst>
        </pc:spChg>
        <pc:spChg chg="add del mod">
          <ac:chgData name="Kieferle, Thomas" userId="37417873-7ec6-4de8-adb8-adf312d35d5d" providerId="ADAL" clId="{F8274A82-0ECD-4E67-A8AC-3361BE7616FA}" dt="2023-04-20T12:21:19.770" v="178"/>
          <ac:spMkLst>
            <pc:docMk/>
            <pc:sldMk cId="1089739216" sldId="9049"/>
            <ac:spMk id="24" creationId="{656B7D68-A60F-8365-8C2D-D333A56BDB37}"/>
          </ac:spMkLst>
        </pc:spChg>
        <pc:spChg chg="add del mod">
          <ac:chgData name="Kieferle, Thomas" userId="37417873-7ec6-4de8-adb8-adf312d35d5d" providerId="ADAL" clId="{F8274A82-0ECD-4E67-A8AC-3361BE7616FA}" dt="2023-04-20T12:21:38.420" v="191"/>
          <ac:spMkLst>
            <pc:docMk/>
            <pc:sldMk cId="1089739216" sldId="9049"/>
            <ac:spMk id="27" creationId="{CF8E03E4-74A9-C32A-D15A-61A91FEDFCD2}"/>
          </ac:spMkLst>
        </pc:spChg>
        <pc:spChg chg="add del mod">
          <ac:chgData name="Kieferle, Thomas" userId="37417873-7ec6-4de8-adb8-adf312d35d5d" providerId="ADAL" clId="{F8274A82-0ECD-4E67-A8AC-3361BE7616FA}" dt="2023-04-20T12:21:39.846" v="208"/>
          <ac:spMkLst>
            <pc:docMk/>
            <pc:sldMk cId="1089739216" sldId="9049"/>
            <ac:spMk id="30" creationId="{8E2910E0-70B9-27FE-9672-4BE93B4B1987}"/>
          </ac:spMkLst>
        </pc:spChg>
        <pc:picChg chg="add del mod replST delST">
          <ac:chgData name="Kieferle, Thomas" userId="37417873-7ec6-4de8-adb8-adf312d35d5d" providerId="ADAL" clId="{F8274A82-0ECD-4E67-A8AC-3361BE7616FA}" dt="2023-04-20T12:20:55.094" v="161"/>
          <ac:picMkLst>
            <pc:docMk/>
            <pc:sldMk cId="1089739216" sldId="9049"/>
            <ac:picMk id="3" creationId="{BA2FA745-9AF4-0000-3873-7512E27C3D71}"/>
          </ac:picMkLst>
        </pc:picChg>
        <pc:picChg chg="add del mod">
          <ac:chgData name="Kieferle, Thomas" userId="37417873-7ec6-4de8-adb8-adf312d35d5d" providerId="ADAL" clId="{F8274A82-0ECD-4E67-A8AC-3361BE7616FA}" dt="2023-04-20T12:20:55.094" v="161"/>
          <ac:picMkLst>
            <pc:docMk/>
            <pc:sldMk cId="1089739216" sldId="9049"/>
            <ac:picMk id="8" creationId="{B444BA7C-5FE5-863D-9484-F1E5EA6734D7}"/>
          </ac:picMkLst>
        </pc:picChg>
        <pc:picChg chg="add del mod replST delST">
          <ac:chgData name="Kieferle, Thomas" userId="37417873-7ec6-4de8-adb8-adf312d35d5d" providerId="ADAL" clId="{F8274A82-0ECD-4E67-A8AC-3361BE7616FA}" dt="2023-04-20T12:20:49.532" v="144"/>
          <ac:picMkLst>
            <pc:docMk/>
            <pc:sldMk cId="1089739216" sldId="9049"/>
            <ac:picMk id="10" creationId="{D5967DDD-6869-E822-4407-358E49A4A418}"/>
          </ac:picMkLst>
        </pc:picChg>
        <pc:picChg chg="add del mod">
          <ac:chgData name="Kieferle, Thomas" userId="37417873-7ec6-4de8-adb8-adf312d35d5d" providerId="ADAL" clId="{F8274A82-0ECD-4E67-A8AC-3361BE7616FA}" dt="2023-04-20T12:20:49.532" v="144"/>
          <ac:picMkLst>
            <pc:docMk/>
            <pc:sldMk cId="1089739216" sldId="9049"/>
            <ac:picMk id="13" creationId="{16096A4C-E4CC-FA5F-8F1C-FD4C49FC2BCE}"/>
          </ac:picMkLst>
        </pc:picChg>
        <pc:picChg chg="add del mod">
          <ac:chgData name="Kieferle, Thomas" userId="37417873-7ec6-4de8-adb8-adf312d35d5d" providerId="ADAL" clId="{F8274A82-0ECD-4E67-A8AC-3361BE7616FA}" dt="2023-04-20T12:20:49.532" v="144"/>
          <ac:picMkLst>
            <pc:docMk/>
            <pc:sldMk cId="1089739216" sldId="9049"/>
            <ac:picMk id="14" creationId="{0F6D6CA9-F022-FB59-CC6A-CB8B6A2650BA}"/>
          </ac:picMkLst>
        </pc:picChg>
        <pc:picChg chg="add del mod">
          <ac:chgData name="Kieferle, Thomas" userId="37417873-7ec6-4de8-adb8-adf312d35d5d" providerId="ADAL" clId="{F8274A82-0ECD-4E67-A8AC-3361BE7616FA}" dt="2023-04-20T12:20:49.532" v="144"/>
          <ac:picMkLst>
            <pc:docMk/>
            <pc:sldMk cId="1089739216" sldId="9049"/>
            <ac:picMk id="15" creationId="{D168BCEF-F357-1846-AC01-9FBAA0404FDB}"/>
          </ac:picMkLst>
        </pc:picChg>
        <pc:picChg chg="add del mod replST delST">
          <ac:chgData name="Kieferle, Thomas" userId="37417873-7ec6-4de8-adb8-adf312d35d5d" providerId="ADAL" clId="{F8274A82-0ECD-4E67-A8AC-3361BE7616FA}" dt="2023-04-20T12:20:48.402" v="123"/>
          <ac:picMkLst>
            <pc:docMk/>
            <pc:sldMk cId="1089739216" sldId="9049"/>
            <ac:picMk id="16" creationId="{245B0C17-289B-851B-4069-326956299E31}"/>
          </ac:picMkLst>
        </pc:picChg>
        <pc:picChg chg="add del mod">
          <ac:chgData name="Kieferle, Thomas" userId="37417873-7ec6-4de8-adb8-adf312d35d5d" providerId="ADAL" clId="{F8274A82-0ECD-4E67-A8AC-3361BE7616FA}" dt="2023-04-20T12:20:48.402" v="123"/>
          <ac:picMkLst>
            <pc:docMk/>
            <pc:sldMk cId="1089739216" sldId="9049"/>
            <ac:picMk id="19" creationId="{C20200DC-8454-F161-C0C5-77819C309D7A}"/>
          </ac:picMkLst>
        </pc:picChg>
        <pc:picChg chg="add del mod">
          <ac:chgData name="Kieferle, Thomas" userId="37417873-7ec6-4de8-adb8-adf312d35d5d" providerId="ADAL" clId="{F8274A82-0ECD-4E67-A8AC-3361BE7616FA}" dt="2023-04-20T12:20:48.402" v="123"/>
          <ac:picMkLst>
            <pc:docMk/>
            <pc:sldMk cId="1089739216" sldId="9049"/>
            <ac:picMk id="20" creationId="{180DBCF7-585F-FC86-4183-FBF05D58EF28}"/>
          </ac:picMkLst>
        </pc:picChg>
        <pc:picChg chg="add del mod">
          <ac:chgData name="Kieferle, Thomas" userId="37417873-7ec6-4de8-adb8-adf312d35d5d" providerId="ADAL" clId="{F8274A82-0ECD-4E67-A8AC-3361BE7616FA}" dt="2023-04-20T12:20:48.402" v="123"/>
          <ac:picMkLst>
            <pc:docMk/>
            <pc:sldMk cId="1089739216" sldId="9049"/>
            <ac:picMk id="21" creationId="{B929D090-6E85-AEF0-01CA-57CEF7F70301}"/>
          </ac:picMkLst>
        </pc:picChg>
        <pc:picChg chg="add del mod replST">
          <ac:chgData name="Kieferle, Thomas" userId="37417873-7ec6-4de8-adb8-adf312d35d5d" providerId="ADAL" clId="{F8274A82-0ECD-4E67-A8AC-3361BE7616FA}" dt="2023-04-20T12:21:19.769" v="176"/>
          <ac:picMkLst>
            <pc:docMk/>
            <pc:sldMk cId="1089739216" sldId="9049"/>
            <ac:picMk id="22" creationId="{FC6EAECE-9C93-6AE3-33E4-632F8F9CFD09}"/>
          </ac:picMkLst>
        </pc:picChg>
        <pc:picChg chg="add del mod">
          <ac:chgData name="Kieferle, Thomas" userId="37417873-7ec6-4de8-adb8-adf312d35d5d" providerId="ADAL" clId="{F8274A82-0ECD-4E67-A8AC-3361BE7616FA}" dt="2023-04-20T12:21:34.018" v="190" actId="478"/>
          <ac:picMkLst>
            <pc:docMk/>
            <pc:sldMk cId="1089739216" sldId="9049"/>
            <ac:picMk id="25" creationId="{5833FF0A-D580-197E-956A-C44F79480334}"/>
          </ac:picMkLst>
        </pc:picChg>
        <pc:picChg chg="add del mod replST">
          <ac:chgData name="Kieferle, Thomas" userId="37417873-7ec6-4de8-adb8-adf312d35d5d" providerId="ADAL" clId="{F8274A82-0ECD-4E67-A8AC-3361BE7616FA}" dt="2023-04-20T12:21:39.845" v="206"/>
          <ac:picMkLst>
            <pc:docMk/>
            <pc:sldMk cId="1089739216" sldId="9049"/>
            <ac:picMk id="28" creationId="{73A11C8B-E811-D474-3C52-46393066D13E}"/>
          </ac:picMkLst>
        </pc:picChg>
        <pc:picChg chg="add mod">
          <ac:chgData name="Kieferle, Thomas" userId="37417873-7ec6-4de8-adb8-adf312d35d5d" providerId="ADAL" clId="{F8274A82-0ECD-4E67-A8AC-3361BE7616FA}" dt="2023-04-20T12:21:39.853" v="219"/>
          <ac:picMkLst>
            <pc:docMk/>
            <pc:sldMk cId="1089739216" sldId="9049"/>
            <ac:picMk id="31" creationId="{0BF86ABF-6805-D993-1631-BFCFA70B41B2}"/>
          </ac:picMkLst>
        </pc:picChg>
      </pc:sldChg>
      <pc:sldChg chg="modSp mod">
        <pc:chgData name="Kieferle, Thomas" userId="37417873-7ec6-4de8-adb8-adf312d35d5d" providerId="ADAL" clId="{F8274A82-0ECD-4E67-A8AC-3361BE7616FA}" dt="2023-04-20T15:14:24.006" v="854" actId="14861"/>
        <pc:sldMkLst>
          <pc:docMk/>
          <pc:sldMk cId="2510408640" sldId="9050"/>
        </pc:sldMkLst>
        <pc:spChg chg="mod">
          <ac:chgData name="Kieferle, Thomas" userId="37417873-7ec6-4de8-adb8-adf312d35d5d" providerId="ADAL" clId="{F8274A82-0ECD-4E67-A8AC-3361BE7616FA}" dt="2023-04-20T12:43:35.942" v="242" actId="20577"/>
          <ac:spMkLst>
            <pc:docMk/>
            <pc:sldMk cId="2510408640" sldId="9050"/>
            <ac:spMk id="9" creationId="{625114DA-3BC5-D9A9-A059-F0ACC721939B}"/>
          </ac:spMkLst>
        </pc:spChg>
        <pc:picChg chg="mod">
          <ac:chgData name="Kieferle, Thomas" userId="37417873-7ec6-4de8-adb8-adf312d35d5d" providerId="ADAL" clId="{F8274A82-0ECD-4E67-A8AC-3361BE7616FA}" dt="2023-04-20T15:14:24.006" v="854" actId="14861"/>
          <ac:picMkLst>
            <pc:docMk/>
            <pc:sldMk cId="2510408640" sldId="9050"/>
            <ac:picMk id="5" creationId="{50905C34-9514-1803-FFBF-364FBE9EE9CB}"/>
          </ac:picMkLst>
        </pc:picChg>
      </pc:sldChg>
      <pc:sldChg chg="addSp delSp modSp mod">
        <pc:chgData name="Kieferle, Thomas" userId="37417873-7ec6-4de8-adb8-adf312d35d5d" providerId="ADAL" clId="{F8274A82-0ECD-4E67-A8AC-3361BE7616FA}" dt="2023-04-20T15:16:12.102" v="860" actId="20577"/>
        <pc:sldMkLst>
          <pc:docMk/>
          <pc:sldMk cId="2049925782" sldId="9051"/>
        </pc:sldMkLst>
        <pc:spChg chg="add del mod">
          <ac:chgData name="Kieferle, Thomas" userId="37417873-7ec6-4de8-adb8-adf312d35d5d" providerId="ADAL" clId="{F8274A82-0ECD-4E67-A8AC-3361BE7616FA}" dt="2023-04-20T15:08:27.139" v="782" actId="478"/>
          <ac:spMkLst>
            <pc:docMk/>
            <pc:sldMk cId="2049925782" sldId="9051"/>
            <ac:spMk id="5" creationId="{47FA1B6F-0D5E-6B99-3BD3-B631562EDB11}"/>
          </ac:spMkLst>
        </pc:spChg>
        <pc:spChg chg="add mod replST">
          <ac:chgData name="Kieferle, Thomas" userId="37417873-7ec6-4de8-adb8-adf312d35d5d" providerId="ADAL" clId="{F8274A82-0ECD-4E67-A8AC-3361BE7616FA}" dt="2023-04-20T15:06:50.327" v="727" actId="1076"/>
          <ac:spMkLst>
            <pc:docMk/>
            <pc:sldMk cId="2049925782" sldId="9051"/>
            <ac:spMk id="8" creationId="{01FC1E20-D8CD-4FAF-FA24-DFADE2059C81}"/>
          </ac:spMkLst>
        </pc:spChg>
        <pc:spChg chg="add mod">
          <ac:chgData name="Kieferle, Thomas" userId="37417873-7ec6-4de8-adb8-adf312d35d5d" providerId="ADAL" clId="{F8274A82-0ECD-4E67-A8AC-3361BE7616FA}" dt="2023-04-20T15:06:58.216" v="738" actId="20577"/>
          <ac:spMkLst>
            <pc:docMk/>
            <pc:sldMk cId="2049925782" sldId="9051"/>
            <ac:spMk id="9" creationId="{2D135EC8-92E6-CD6E-5CDA-CABF652D8F53}"/>
          </ac:spMkLst>
        </pc:spChg>
        <pc:spChg chg="add mod">
          <ac:chgData name="Kieferle, Thomas" userId="37417873-7ec6-4de8-adb8-adf312d35d5d" providerId="ADAL" clId="{F8274A82-0ECD-4E67-A8AC-3361BE7616FA}" dt="2023-04-20T15:07:21.775" v="756" actId="1076"/>
          <ac:spMkLst>
            <pc:docMk/>
            <pc:sldMk cId="2049925782" sldId="9051"/>
            <ac:spMk id="11" creationId="{0EAB0286-E0EE-ADBA-0698-7F0C0FC803C9}"/>
          </ac:spMkLst>
        </pc:spChg>
        <pc:spChg chg="add mod">
          <ac:chgData name="Kieferle, Thomas" userId="37417873-7ec6-4de8-adb8-adf312d35d5d" providerId="ADAL" clId="{F8274A82-0ECD-4E67-A8AC-3361BE7616FA}" dt="2023-04-20T15:07:29.753" v="768" actId="20577"/>
          <ac:spMkLst>
            <pc:docMk/>
            <pc:sldMk cId="2049925782" sldId="9051"/>
            <ac:spMk id="12" creationId="{CF816AB4-603A-5FB5-8951-C5331D55ABA5}"/>
          </ac:spMkLst>
        </pc:spChg>
        <pc:spChg chg="add mod">
          <ac:chgData name="Kieferle, Thomas" userId="37417873-7ec6-4de8-adb8-adf312d35d5d" providerId="ADAL" clId="{F8274A82-0ECD-4E67-A8AC-3361BE7616FA}" dt="2023-04-20T15:07:43.114" v="779" actId="20577"/>
          <ac:spMkLst>
            <pc:docMk/>
            <pc:sldMk cId="2049925782" sldId="9051"/>
            <ac:spMk id="13" creationId="{E4F18826-B78C-C24B-12C7-09C9F7C23567}"/>
          </ac:spMkLst>
        </pc:spChg>
        <pc:spChg chg="add mod">
          <ac:chgData name="Kieferle, Thomas" userId="37417873-7ec6-4de8-adb8-adf312d35d5d" providerId="ADAL" clId="{F8274A82-0ECD-4E67-A8AC-3361BE7616FA}" dt="2023-04-20T15:16:12.102" v="860" actId="20577"/>
          <ac:spMkLst>
            <pc:docMk/>
            <pc:sldMk cId="2049925782" sldId="9051"/>
            <ac:spMk id="14" creationId="{69717F26-93B2-418C-4483-045694F8C584}"/>
          </ac:spMkLst>
        </pc:spChg>
        <pc:picChg chg="del">
          <ac:chgData name="Kieferle, Thomas" userId="37417873-7ec6-4de8-adb8-adf312d35d5d" providerId="ADAL" clId="{F8274A82-0ECD-4E67-A8AC-3361BE7616FA}" dt="2023-04-20T15:07:33.412" v="769" actId="478"/>
          <ac:picMkLst>
            <pc:docMk/>
            <pc:sldMk cId="2049925782" sldId="9051"/>
            <ac:picMk id="34" creationId="{2636166D-C751-46A2-A849-56752F0493ED}"/>
          </ac:picMkLst>
        </pc:picChg>
      </pc:sldChg>
      <pc:sldChg chg="addSp delSp modSp mod">
        <pc:chgData name="Kieferle, Thomas" userId="37417873-7ec6-4de8-adb8-adf312d35d5d" providerId="ADAL" clId="{F8274A82-0ECD-4E67-A8AC-3361BE7616FA}" dt="2023-04-20T12:45:48.831" v="318" actId="1076"/>
        <pc:sldMkLst>
          <pc:docMk/>
          <pc:sldMk cId="3083260350" sldId="9054"/>
        </pc:sldMkLst>
        <pc:spChg chg="add mod">
          <ac:chgData name="Kieferle, Thomas" userId="37417873-7ec6-4de8-adb8-adf312d35d5d" providerId="ADAL" clId="{F8274A82-0ECD-4E67-A8AC-3361BE7616FA}" dt="2023-04-20T12:45:04.371" v="311" actId="207"/>
          <ac:spMkLst>
            <pc:docMk/>
            <pc:sldMk cId="3083260350" sldId="9054"/>
            <ac:spMk id="24" creationId="{857F605D-6924-B9D8-A8A0-5643025A4217}"/>
          </ac:spMkLst>
        </pc:spChg>
        <pc:spChg chg="add mod">
          <ac:chgData name="Kieferle, Thomas" userId="37417873-7ec6-4de8-adb8-adf312d35d5d" providerId="ADAL" clId="{F8274A82-0ECD-4E67-A8AC-3361BE7616FA}" dt="2023-04-20T12:45:04.372" v="313" actId="207"/>
          <ac:spMkLst>
            <pc:docMk/>
            <pc:sldMk cId="3083260350" sldId="9054"/>
            <ac:spMk id="25" creationId="{021A4BF6-79BD-30BE-F8D9-AEBE3034F6A0}"/>
          </ac:spMkLst>
        </pc:spChg>
        <pc:picChg chg="del">
          <ac:chgData name="Kieferle, Thomas" userId="37417873-7ec6-4de8-adb8-adf312d35d5d" providerId="ADAL" clId="{F8274A82-0ECD-4E67-A8AC-3361BE7616FA}" dt="2023-04-20T12:45:38.933" v="316" actId="478"/>
          <ac:picMkLst>
            <pc:docMk/>
            <pc:sldMk cId="3083260350" sldId="9054"/>
            <ac:picMk id="15" creationId="{1D3470EC-4F37-BF07-089D-06111BDDEE1B}"/>
          </ac:picMkLst>
        </pc:picChg>
        <pc:picChg chg="mod">
          <ac:chgData name="Kieferle, Thomas" userId="37417873-7ec6-4de8-adb8-adf312d35d5d" providerId="ADAL" clId="{F8274A82-0ECD-4E67-A8AC-3361BE7616FA}" dt="2023-04-20T12:45:48.831" v="318" actId="1076"/>
          <ac:picMkLst>
            <pc:docMk/>
            <pc:sldMk cId="3083260350" sldId="9054"/>
            <ac:picMk id="18" creationId="{886952CE-52B7-F2E5-F9BF-8757656E1C4A}"/>
          </ac:picMkLst>
        </pc:picChg>
      </pc:sldChg>
      <pc:sldChg chg="modSp mod">
        <pc:chgData name="Kieferle, Thomas" userId="37417873-7ec6-4de8-adb8-adf312d35d5d" providerId="ADAL" clId="{F8274A82-0ECD-4E67-A8AC-3361BE7616FA}" dt="2023-04-20T12:46:53.304" v="327" actId="20577"/>
        <pc:sldMkLst>
          <pc:docMk/>
          <pc:sldMk cId="2415385302" sldId="9058"/>
        </pc:sldMkLst>
        <pc:spChg chg="mod">
          <ac:chgData name="Kieferle, Thomas" userId="37417873-7ec6-4de8-adb8-adf312d35d5d" providerId="ADAL" clId="{F8274A82-0ECD-4E67-A8AC-3361BE7616FA}" dt="2023-04-20T12:46:53.304" v="327" actId="20577"/>
          <ac:spMkLst>
            <pc:docMk/>
            <pc:sldMk cId="2415385302" sldId="9058"/>
            <ac:spMk id="2" creationId="{A8FBBFE5-8D2C-46A0-BE6F-B6BBB6CC23F6}"/>
          </ac:spMkLst>
        </pc:spChg>
      </pc:sldChg>
      <pc:sldChg chg="modSp mod">
        <pc:chgData name="Kieferle, Thomas" userId="37417873-7ec6-4de8-adb8-adf312d35d5d" providerId="ADAL" clId="{F8274A82-0ECD-4E67-A8AC-3361BE7616FA}" dt="2023-04-20T12:48:25.225" v="364" actId="1037"/>
        <pc:sldMkLst>
          <pc:docMk/>
          <pc:sldMk cId="812542773" sldId="9059"/>
        </pc:sldMkLst>
        <pc:spChg chg="mod">
          <ac:chgData name="Kieferle, Thomas" userId="37417873-7ec6-4de8-adb8-adf312d35d5d" providerId="ADAL" clId="{F8274A82-0ECD-4E67-A8AC-3361BE7616FA}" dt="2023-04-20T12:46:58.968" v="336" actId="20577"/>
          <ac:spMkLst>
            <pc:docMk/>
            <pc:sldMk cId="812542773" sldId="9059"/>
            <ac:spMk id="2" creationId="{B8606BD9-E7A0-4033-832A-0322D648FCB6}"/>
          </ac:spMkLst>
        </pc:spChg>
        <pc:spChg chg="mod">
          <ac:chgData name="Kieferle, Thomas" userId="37417873-7ec6-4de8-adb8-adf312d35d5d" providerId="ADAL" clId="{F8274A82-0ECD-4E67-A8AC-3361BE7616FA}" dt="2023-04-20T12:48:11.116" v="359" actId="20577"/>
          <ac:spMkLst>
            <pc:docMk/>
            <pc:sldMk cId="812542773" sldId="9059"/>
            <ac:spMk id="35" creationId="{08EA9F23-A5CC-47AD-91AE-FD51FBD3B091}"/>
          </ac:spMkLst>
        </pc:spChg>
        <pc:spChg chg="mod">
          <ac:chgData name="Kieferle, Thomas" userId="37417873-7ec6-4de8-adb8-adf312d35d5d" providerId="ADAL" clId="{F8274A82-0ECD-4E67-A8AC-3361BE7616FA}" dt="2023-04-20T12:48:25.225" v="364" actId="1037"/>
          <ac:spMkLst>
            <pc:docMk/>
            <pc:sldMk cId="812542773" sldId="9059"/>
            <ac:spMk id="43" creationId="{D9EC826B-66A1-467F-A337-9658B1E3A428}"/>
          </ac:spMkLst>
        </pc:spChg>
      </pc:sldChg>
      <pc:sldChg chg="modSp mod modAnim">
        <pc:chgData name="Kieferle, Thomas" userId="37417873-7ec6-4de8-adb8-adf312d35d5d" providerId="ADAL" clId="{F8274A82-0ECD-4E67-A8AC-3361BE7616FA}" dt="2023-04-20T12:49:13.764" v="365"/>
        <pc:sldMkLst>
          <pc:docMk/>
          <pc:sldMk cId="3273140983" sldId="9060"/>
        </pc:sldMkLst>
        <pc:spChg chg="mod">
          <ac:chgData name="Kieferle, Thomas" userId="37417873-7ec6-4de8-adb8-adf312d35d5d" providerId="ADAL" clId="{F8274A82-0ECD-4E67-A8AC-3361BE7616FA}" dt="2023-04-20T12:47:03.910" v="345" actId="20577"/>
          <ac:spMkLst>
            <pc:docMk/>
            <pc:sldMk cId="3273140983" sldId="9060"/>
            <ac:spMk id="2" creationId="{15631AD7-099B-4F16-B43F-73C08623EB0F}"/>
          </ac:spMkLst>
        </pc:spChg>
      </pc:sldChg>
      <pc:sldChg chg="modSp mod">
        <pc:chgData name="Kieferle, Thomas" userId="37417873-7ec6-4de8-adb8-adf312d35d5d" providerId="ADAL" clId="{F8274A82-0ECD-4E67-A8AC-3361BE7616FA}" dt="2023-04-20T12:51:27.032" v="372" actId="20577"/>
        <pc:sldMkLst>
          <pc:docMk/>
          <pc:sldMk cId="2437978936" sldId="9062"/>
        </pc:sldMkLst>
        <pc:spChg chg="mod">
          <ac:chgData name="Kieferle, Thomas" userId="37417873-7ec6-4de8-adb8-adf312d35d5d" providerId="ADAL" clId="{F8274A82-0ECD-4E67-A8AC-3361BE7616FA}" dt="2023-04-20T12:50:50.599" v="366" actId="20577"/>
          <ac:spMkLst>
            <pc:docMk/>
            <pc:sldMk cId="2437978936" sldId="9062"/>
            <ac:spMk id="39" creationId="{F5ED0D93-2CD2-4353-92D9-1FE47CE5E191}"/>
          </ac:spMkLst>
        </pc:spChg>
        <pc:spChg chg="mod">
          <ac:chgData name="Kieferle, Thomas" userId="37417873-7ec6-4de8-adb8-adf312d35d5d" providerId="ADAL" clId="{F8274A82-0ECD-4E67-A8AC-3361BE7616FA}" dt="2023-04-20T12:51:27.032" v="372" actId="20577"/>
          <ac:spMkLst>
            <pc:docMk/>
            <pc:sldMk cId="2437978936" sldId="9062"/>
            <ac:spMk id="100" creationId="{48AA07EB-AB2B-41CC-8F22-4620E605B0BE}"/>
          </ac:spMkLst>
        </pc:spChg>
        <pc:spChg chg="mod">
          <ac:chgData name="Kieferle, Thomas" userId="37417873-7ec6-4de8-adb8-adf312d35d5d" providerId="ADAL" clId="{F8274A82-0ECD-4E67-A8AC-3361BE7616FA}" dt="2023-04-20T12:51:01.284" v="367" actId="1076"/>
          <ac:spMkLst>
            <pc:docMk/>
            <pc:sldMk cId="2437978936" sldId="9062"/>
            <ac:spMk id="117" creationId="{2E58BA40-6A66-408C-9907-B3BD3E1A5E06}"/>
          </ac:spMkLst>
        </pc:spChg>
        <pc:grpChg chg="mod">
          <ac:chgData name="Kieferle, Thomas" userId="37417873-7ec6-4de8-adb8-adf312d35d5d" providerId="ADAL" clId="{F8274A82-0ECD-4E67-A8AC-3361BE7616FA}" dt="2023-04-20T12:51:01.284" v="367" actId="1076"/>
          <ac:grpSpMkLst>
            <pc:docMk/>
            <pc:sldMk cId="2437978936" sldId="9062"/>
            <ac:grpSpMk id="41" creationId="{E9893A03-0C13-4EBB-95FD-5AB674E4CE6B}"/>
          </ac:grpSpMkLst>
        </pc:grpChg>
      </pc:sldChg>
      <pc:sldChg chg="addSp delSp modSp mod">
        <pc:chgData name="Kieferle, Thomas" userId="37417873-7ec6-4de8-adb8-adf312d35d5d" providerId="ADAL" clId="{F8274A82-0ECD-4E67-A8AC-3361BE7616FA}" dt="2023-04-20T15:12:51.420" v="853" actId="1035"/>
        <pc:sldMkLst>
          <pc:docMk/>
          <pc:sldMk cId="1099088698" sldId="9065"/>
        </pc:sldMkLst>
        <pc:spChg chg="add del mod">
          <ac:chgData name="Kieferle, Thomas" userId="37417873-7ec6-4de8-adb8-adf312d35d5d" providerId="ADAL" clId="{F8274A82-0ECD-4E67-A8AC-3361BE7616FA}" dt="2023-04-20T15:10:11.907" v="822" actId="478"/>
          <ac:spMkLst>
            <pc:docMk/>
            <pc:sldMk cId="1099088698" sldId="9065"/>
            <ac:spMk id="4" creationId="{B4BF0542-7668-77F4-6A19-2495291EA296}"/>
          </ac:spMkLst>
        </pc:spChg>
        <pc:spChg chg="mod">
          <ac:chgData name="Kieferle, Thomas" userId="37417873-7ec6-4de8-adb8-adf312d35d5d" providerId="ADAL" clId="{F8274A82-0ECD-4E67-A8AC-3361BE7616FA}" dt="2023-04-20T15:12:51.420" v="853" actId="1035"/>
          <ac:spMkLst>
            <pc:docMk/>
            <pc:sldMk cId="1099088698" sldId="9065"/>
            <ac:spMk id="9" creationId="{D32C3880-A622-45B4-A83B-44C95BEE6F4F}"/>
          </ac:spMkLst>
        </pc:spChg>
        <pc:spChg chg="mod">
          <ac:chgData name="Kieferle, Thomas" userId="37417873-7ec6-4de8-adb8-adf312d35d5d" providerId="ADAL" clId="{F8274A82-0ECD-4E67-A8AC-3361BE7616FA}" dt="2023-04-20T13:00:05.586" v="446" actId="14100"/>
          <ac:spMkLst>
            <pc:docMk/>
            <pc:sldMk cId="1099088698" sldId="9065"/>
            <ac:spMk id="31" creationId="{7D0D1CCA-F686-41B0-A329-35BC2BB88726}"/>
          </ac:spMkLst>
        </pc:spChg>
        <pc:spChg chg="add del mod">
          <ac:chgData name="Kieferle, Thomas" userId="37417873-7ec6-4de8-adb8-adf312d35d5d" providerId="ADAL" clId="{F8274A82-0ECD-4E67-A8AC-3361BE7616FA}" dt="2023-04-20T13:00:30.381" v="474" actId="14100"/>
          <ac:spMkLst>
            <pc:docMk/>
            <pc:sldMk cId="1099088698" sldId="9065"/>
            <ac:spMk id="34" creationId="{F3AA81B0-36E3-4720-A312-4CF594637E63}"/>
          </ac:spMkLst>
        </pc:spChg>
        <pc:spChg chg="mod">
          <ac:chgData name="Kieferle, Thomas" userId="37417873-7ec6-4de8-adb8-adf312d35d5d" providerId="ADAL" clId="{F8274A82-0ECD-4E67-A8AC-3361BE7616FA}" dt="2023-04-20T13:00:49.848" v="501" actId="20577"/>
          <ac:spMkLst>
            <pc:docMk/>
            <pc:sldMk cId="1099088698" sldId="9065"/>
            <ac:spMk id="35" creationId="{C266A577-3F11-4D5F-ADA4-1058801D6660}"/>
          </ac:spMkLst>
        </pc:spChg>
        <pc:picChg chg="add mod">
          <ac:chgData name="Kieferle, Thomas" userId="37417873-7ec6-4de8-adb8-adf312d35d5d" providerId="ADAL" clId="{F8274A82-0ECD-4E67-A8AC-3361BE7616FA}" dt="2023-04-20T15:12:51.420" v="853" actId="1035"/>
          <ac:picMkLst>
            <pc:docMk/>
            <pc:sldMk cId="1099088698" sldId="9065"/>
            <ac:picMk id="11" creationId="{BFF71E74-6439-ECE4-60B9-1734924CFF70}"/>
          </ac:picMkLst>
        </pc:picChg>
      </pc:sldChg>
      <pc:sldChg chg="modSp mod">
        <pc:chgData name="Kieferle, Thomas" userId="37417873-7ec6-4de8-adb8-adf312d35d5d" providerId="ADAL" clId="{F8274A82-0ECD-4E67-A8AC-3361BE7616FA}" dt="2023-04-20T13:07:19.169" v="644" actId="20577"/>
        <pc:sldMkLst>
          <pc:docMk/>
          <pc:sldMk cId="4124506372" sldId="9067"/>
        </pc:sldMkLst>
        <pc:spChg chg="mod">
          <ac:chgData name="Kieferle, Thomas" userId="37417873-7ec6-4de8-adb8-adf312d35d5d" providerId="ADAL" clId="{F8274A82-0ECD-4E67-A8AC-3361BE7616FA}" dt="2023-04-20T13:07:19.169" v="644" actId="20577"/>
          <ac:spMkLst>
            <pc:docMk/>
            <pc:sldMk cId="4124506372" sldId="9067"/>
            <ac:spMk id="7" creationId="{AFCDC8E4-B798-DBD3-E47F-9748A20FC5BA}"/>
          </ac:spMkLst>
        </pc:spChg>
      </pc:sldChg>
      <pc:sldChg chg="modSp mod">
        <pc:chgData name="Kieferle, Thomas" userId="37417873-7ec6-4de8-adb8-adf312d35d5d" providerId="ADAL" clId="{F8274A82-0ECD-4E67-A8AC-3361BE7616FA}" dt="2023-04-20T15:15:10.989" v="856"/>
        <pc:sldMkLst>
          <pc:docMk/>
          <pc:sldMk cId="967237558" sldId="9069"/>
        </pc:sldMkLst>
        <pc:spChg chg="mod">
          <ac:chgData name="Kieferle, Thomas" userId="37417873-7ec6-4de8-adb8-adf312d35d5d" providerId="ADAL" clId="{F8274A82-0ECD-4E67-A8AC-3361BE7616FA}" dt="2023-04-20T15:14:54.634" v="855"/>
          <ac:spMkLst>
            <pc:docMk/>
            <pc:sldMk cId="967237558" sldId="9069"/>
            <ac:spMk id="13" creationId="{C2A60504-0D98-6C56-471E-24BA65C6F880}"/>
          </ac:spMkLst>
        </pc:spChg>
        <pc:spChg chg="mod">
          <ac:chgData name="Kieferle, Thomas" userId="37417873-7ec6-4de8-adb8-adf312d35d5d" providerId="ADAL" clId="{F8274A82-0ECD-4E67-A8AC-3361BE7616FA}" dt="2023-04-20T15:15:10.989" v="856"/>
          <ac:spMkLst>
            <pc:docMk/>
            <pc:sldMk cId="967237558" sldId="9069"/>
            <ac:spMk id="14" creationId="{B5EC8433-64A9-FA17-8A40-6DF2892BE450}"/>
          </ac:spMkLst>
        </pc:spChg>
        <pc:spChg chg="mod">
          <ac:chgData name="Kieferle, Thomas" userId="37417873-7ec6-4de8-adb8-adf312d35d5d" providerId="ADAL" clId="{F8274A82-0ECD-4E67-A8AC-3361BE7616FA}" dt="2023-04-20T12:44:33.965" v="290" actId="207"/>
          <ac:spMkLst>
            <pc:docMk/>
            <pc:sldMk cId="967237558" sldId="9069"/>
            <ac:spMk id="16" creationId="{CC8D5BE6-B491-E96F-4E92-B85251DDDCEC}"/>
          </ac:spMkLst>
        </pc:spChg>
        <pc:spChg chg="mod">
          <ac:chgData name="Kieferle, Thomas" userId="37417873-7ec6-4de8-adb8-adf312d35d5d" providerId="ADAL" clId="{F8274A82-0ECD-4E67-A8AC-3361BE7616FA}" dt="2023-04-20T12:44:33.965" v="288" actId="207"/>
          <ac:spMkLst>
            <pc:docMk/>
            <pc:sldMk cId="967237558" sldId="9069"/>
            <ac:spMk id="17" creationId="{228BC3F8-5597-C24F-AD42-553495F10EAB}"/>
          </ac:spMkLst>
        </pc:spChg>
        <pc:spChg chg="mod">
          <ac:chgData name="Kieferle, Thomas" userId="37417873-7ec6-4de8-adb8-adf312d35d5d" providerId="ADAL" clId="{F8274A82-0ECD-4E67-A8AC-3361BE7616FA}" dt="2023-04-20T12:44:33.965" v="286" actId="207"/>
          <ac:spMkLst>
            <pc:docMk/>
            <pc:sldMk cId="967237558" sldId="9069"/>
            <ac:spMk id="18" creationId="{F853DB40-FEBD-5C18-55FA-187C7E6CF799}"/>
          </ac:spMkLst>
        </pc:spChg>
        <pc:spChg chg="mod">
          <ac:chgData name="Kieferle, Thomas" userId="37417873-7ec6-4de8-adb8-adf312d35d5d" providerId="ADAL" clId="{F8274A82-0ECD-4E67-A8AC-3361BE7616FA}" dt="2023-04-20T12:44:51.531" v="292" actId="207"/>
          <ac:spMkLst>
            <pc:docMk/>
            <pc:sldMk cId="967237558" sldId="9069"/>
            <ac:spMk id="40" creationId="{4AAE5213-8D40-EC37-8F08-EEB4694BDBD8}"/>
          </ac:spMkLst>
        </pc:spChg>
        <pc:spChg chg="mod">
          <ac:chgData name="Kieferle, Thomas" userId="37417873-7ec6-4de8-adb8-adf312d35d5d" providerId="ADAL" clId="{F8274A82-0ECD-4E67-A8AC-3361BE7616FA}" dt="2023-04-20T12:44:51.532" v="294" actId="207"/>
          <ac:spMkLst>
            <pc:docMk/>
            <pc:sldMk cId="967237558" sldId="9069"/>
            <ac:spMk id="41" creationId="{61B993F4-C23E-06A6-87E6-6A72FA6CC6B2}"/>
          </ac:spMkLst>
        </pc:spChg>
        <pc:spChg chg="mod">
          <ac:chgData name="Kieferle, Thomas" userId="37417873-7ec6-4de8-adb8-adf312d35d5d" providerId="ADAL" clId="{F8274A82-0ECD-4E67-A8AC-3361BE7616FA}" dt="2023-04-20T12:44:51.532" v="296" actId="207"/>
          <ac:spMkLst>
            <pc:docMk/>
            <pc:sldMk cId="967237558" sldId="9069"/>
            <ac:spMk id="42" creationId="{31FFF46B-9235-7361-496B-454E7E0DE400}"/>
          </ac:spMkLst>
        </pc:spChg>
        <pc:spChg chg="mod">
          <ac:chgData name="Kieferle, Thomas" userId="37417873-7ec6-4de8-adb8-adf312d35d5d" providerId="ADAL" clId="{F8274A82-0ECD-4E67-A8AC-3361BE7616FA}" dt="2023-04-20T12:44:51.533" v="298" actId="207"/>
          <ac:spMkLst>
            <pc:docMk/>
            <pc:sldMk cId="967237558" sldId="9069"/>
            <ac:spMk id="43" creationId="{EB0A20B2-CF87-2226-4AFE-AB6CD437C9D4}"/>
          </ac:spMkLst>
        </pc:spChg>
        <pc:spChg chg="mod">
          <ac:chgData name="Kieferle, Thomas" userId="37417873-7ec6-4de8-adb8-adf312d35d5d" providerId="ADAL" clId="{F8274A82-0ECD-4E67-A8AC-3361BE7616FA}" dt="2023-04-20T12:44:51.534" v="300" actId="207"/>
          <ac:spMkLst>
            <pc:docMk/>
            <pc:sldMk cId="967237558" sldId="9069"/>
            <ac:spMk id="44" creationId="{90D11D59-39B5-B893-3018-DDC10420575C}"/>
          </ac:spMkLst>
        </pc:spChg>
        <pc:spChg chg="mod">
          <ac:chgData name="Kieferle, Thomas" userId="37417873-7ec6-4de8-adb8-adf312d35d5d" providerId="ADAL" clId="{F8274A82-0ECD-4E67-A8AC-3361BE7616FA}" dt="2023-04-20T12:44:51.535" v="302" actId="207"/>
          <ac:spMkLst>
            <pc:docMk/>
            <pc:sldMk cId="967237558" sldId="9069"/>
            <ac:spMk id="45" creationId="{42638592-A260-51BB-99C0-9AA24A497CF6}"/>
          </ac:spMkLst>
        </pc:spChg>
        <pc:spChg chg="mod">
          <ac:chgData name="Kieferle, Thomas" userId="37417873-7ec6-4de8-adb8-adf312d35d5d" providerId="ADAL" clId="{F8274A82-0ECD-4E67-A8AC-3361BE7616FA}" dt="2023-04-20T12:44:51.536" v="304" actId="207"/>
          <ac:spMkLst>
            <pc:docMk/>
            <pc:sldMk cId="967237558" sldId="9069"/>
            <ac:spMk id="46" creationId="{05E0D4EF-1443-9CA0-46AB-5FCEA5C94808}"/>
          </ac:spMkLst>
        </pc:spChg>
        <pc:spChg chg="mod">
          <ac:chgData name="Kieferle, Thomas" userId="37417873-7ec6-4de8-adb8-adf312d35d5d" providerId="ADAL" clId="{F8274A82-0ECD-4E67-A8AC-3361BE7616FA}" dt="2023-04-20T12:44:51.537" v="306" actId="207"/>
          <ac:spMkLst>
            <pc:docMk/>
            <pc:sldMk cId="967237558" sldId="9069"/>
            <ac:spMk id="47" creationId="{BBE8380C-3F89-C8FE-5A7D-CB1328255087}"/>
          </ac:spMkLst>
        </pc:spChg>
        <pc:spChg chg="mod">
          <ac:chgData name="Kieferle, Thomas" userId="37417873-7ec6-4de8-adb8-adf312d35d5d" providerId="ADAL" clId="{F8274A82-0ECD-4E67-A8AC-3361BE7616FA}" dt="2023-04-20T12:44:51.538" v="308" actId="207"/>
          <ac:spMkLst>
            <pc:docMk/>
            <pc:sldMk cId="967237558" sldId="9069"/>
            <ac:spMk id="48" creationId="{BBCEBE05-D06F-AA1B-B5F6-3ED24638D7EF}"/>
          </ac:spMkLst>
        </pc:spChg>
      </pc:sldChg>
      <pc:sldChg chg="modSp mod">
        <pc:chgData name="Kieferle, Thomas" userId="37417873-7ec6-4de8-adb8-adf312d35d5d" providerId="ADAL" clId="{F8274A82-0ECD-4E67-A8AC-3361BE7616FA}" dt="2023-04-20T13:05:53.982" v="605" actId="20577"/>
        <pc:sldMkLst>
          <pc:docMk/>
          <pc:sldMk cId="4090093699" sldId="9070"/>
        </pc:sldMkLst>
        <pc:spChg chg="mod">
          <ac:chgData name="Kieferle, Thomas" userId="37417873-7ec6-4de8-adb8-adf312d35d5d" providerId="ADAL" clId="{F8274A82-0ECD-4E67-A8AC-3361BE7616FA}" dt="2023-04-20T13:03:33.166" v="509" actId="120"/>
          <ac:spMkLst>
            <pc:docMk/>
            <pc:sldMk cId="4090093699" sldId="9070"/>
            <ac:spMk id="66" creationId="{087F0E02-2C3C-508F-4E5F-B2CF26C75394}"/>
          </ac:spMkLst>
        </pc:spChg>
        <pc:spChg chg="mod">
          <ac:chgData name="Kieferle, Thomas" userId="37417873-7ec6-4de8-adb8-adf312d35d5d" providerId="ADAL" clId="{F8274A82-0ECD-4E67-A8AC-3361BE7616FA}" dt="2023-04-20T12:38:45.173" v="220" actId="20577"/>
          <ac:spMkLst>
            <pc:docMk/>
            <pc:sldMk cId="4090093699" sldId="9070"/>
            <ac:spMk id="71" creationId="{C7777F24-A64C-9B10-9CF0-464202BC2E30}"/>
          </ac:spMkLst>
        </pc:spChg>
        <pc:spChg chg="mod">
          <ac:chgData name="Kieferle, Thomas" userId="37417873-7ec6-4de8-adb8-adf312d35d5d" providerId="ADAL" clId="{F8274A82-0ECD-4E67-A8AC-3361BE7616FA}" dt="2023-04-20T13:02:23.215" v="504" actId="122"/>
          <ac:spMkLst>
            <pc:docMk/>
            <pc:sldMk cId="4090093699" sldId="9070"/>
            <ac:spMk id="72" creationId="{D9E9AA24-4437-08A0-5B0A-6137D74DEB49}"/>
          </ac:spMkLst>
        </pc:spChg>
        <pc:spChg chg="mod">
          <ac:chgData name="Kieferle, Thomas" userId="37417873-7ec6-4de8-adb8-adf312d35d5d" providerId="ADAL" clId="{F8274A82-0ECD-4E67-A8AC-3361BE7616FA}" dt="2023-04-20T13:04:29.961" v="547" actId="20577"/>
          <ac:spMkLst>
            <pc:docMk/>
            <pc:sldMk cId="4090093699" sldId="9070"/>
            <ac:spMk id="78" creationId="{2DC2DADB-670C-DDE0-6906-C3DA7900F7E5}"/>
          </ac:spMkLst>
        </pc:spChg>
        <pc:spChg chg="mod">
          <ac:chgData name="Kieferle, Thomas" userId="37417873-7ec6-4de8-adb8-adf312d35d5d" providerId="ADAL" clId="{F8274A82-0ECD-4E67-A8AC-3361BE7616FA}" dt="2023-04-20T13:05:53.982" v="605" actId="20577"/>
          <ac:spMkLst>
            <pc:docMk/>
            <pc:sldMk cId="4090093699" sldId="9070"/>
            <ac:spMk id="84" creationId="{ABC26E05-1F99-1AF9-1A6A-D25AE625005F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B810D8D-68EF-104F-897B-400E5A86AC0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104400" y="8655069"/>
            <a:ext cx="432000" cy="306000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algn="r"/>
            <a:fld id="{17A3870A-23B3-8C42-9680-396FBEA6B6AD}" type="slidenum">
              <a:rPr lang="de-DE" sz="1000" b="1">
                <a:solidFill>
                  <a:schemeClr val="tx2"/>
                </a:solidFill>
                <a:cs typeface="Arial" panose="020B0604020202020204" pitchFamily="34" charset="0"/>
              </a:rPr>
              <a:pPr algn="r"/>
              <a:t>‹Nr.›</a:t>
            </a:fld>
            <a:endParaRPr lang="de-DE" sz="1000" b="1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45305254-F1F9-7548-8E41-35654082BEA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5800" y="8423318"/>
            <a:ext cx="432000" cy="432000"/>
          </a:xfrm>
          <a:prstGeom prst="rect">
            <a:avLst/>
          </a:prstGeom>
        </p:spPr>
      </p:pic>
      <p:sp>
        <p:nvSpPr>
          <p:cNvPr id="2" name="Fußzeilenplatzhalter 1"/>
          <p:cNvSpPr>
            <a:spLocks noGrp="1"/>
          </p:cNvSpPr>
          <p:nvPr>
            <p:ph type="ftr" sz="quarter" idx="2"/>
          </p:nvPr>
        </p:nvSpPr>
        <p:spPr>
          <a:xfrm>
            <a:off x="590400" y="8655069"/>
            <a:ext cx="2743200" cy="306000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r>
              <a:rPr lang="de-DE" sz="1000">
                <a:solidFill>
                  <a:schemeClr val="accent1"/>
                </a:solidFill>
                <a:cs typeface="Arial" panose="020B0604020202020204" pitchFamily="34" charset="0"/>
              </a:rPr>
              <a:t>Name | Abteilung | 30. Januar 2019</a:t>
            </a:r>
          </a:p>
        </p:txBody>
      </p:sp>
    </p:spTree>
    <p:extLst>
      <p:ext uri="{BB962C8B-B14F-4D97-AF65-F5344CB8AC3E}">
        <p14:creationId xmlns:p14="http://schemas.microsoft.com/office/powerpoint/2010/main" val="1402407393"/>
      </p:ext>
    </p:extLst>
  </p:cSld>
  <p:clrMap bg1="lt1" tx1="dk1" bg2="lt2" tx2="dk2" accent1="accent1" accent2="accent2" accent3="accent3" accent4="accent4" accent5="accent5" accent6="accent6" hlink="hlink" folHlink="folHlink"/>
  <p:hf hdr="0" dt="0"/>
  <p:extLst>
    <p:ext uri="{56416CCD-93CA-4268-BC5B-53C4BB910035}">
      <p15:sldGuideLst xmlns:p15="http://schemas.microsoft.com/office/powerpoint/2012/main">
        <p15:guide id="2" pos="4112" userDrawn="1">
          <p15:clr>
            <a:srgbClr val="F26B43"/>
          </p15:clr>
        </p15:guide>
        <p15:guide id="3" pos="189" userDrawn="1">
          <p15:clr>
            <a:srgbClr val="F26B43"/>
          </p15:clr>
        </p15:guide>
        <p15:guide id="4" orient="horz" pos="187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26035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300038" y="3607358"/>
            <a:ext cx="6227762" cy="4515222"/>
          </a:xfrm>
          <a:prstGeom prst="rect">
            <a:avLst/>
          </a:prstGeom>
        </p:spPr>
        <p:txBody>
          <a:bodyPr vert="horz" lIns="0" tIns="0" rIns="0" bIns="0" rtlCol="0"/>
          <a:lstStyle/>
          <a:p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104400" y="8654400"/>
            <a:ext cx="432000" cy="30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lang="de-DE" sz="1000" b="1" smtClean="0">
                <a:solidFill>
                  <a:schemeClr val="tx2"/>
                </a:solidFill>
                <a:cs typeface="Arial" panose="020B0604020202020204" pitchFamily="34" charset="0"/>
              </a:defRPr>
            </a:lvl1pPr>
          </a:lstStyle>
          <a:p>
            <a:pPr algn="r"/>
            <a:fld id="{7D817C07-CE16-5C41-9ABD-94C73CEF6061}" type="slidenum">
              <a:rPr lang="de-DE" smtClean="0"/>
              <a:pPr algn="r"/>
              <a:t>‹Nr.›</a:t>
            </a:fld>
            <a:endParaRPr lang="de-DE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4"/>
          </p:nvPr>
        </p:nvSpPr>
        <p:spPr>
          <a:xfrm>
            <a:off x="590400" y="8654400"/>
            <a:ext cx="2743200" cy="30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lang="de-DE" sz="1000">
                <a:solidFill>
                  <a:schemeClr val="accent1"/>
                </a:solidFill>
                <a:cs typeface="Arial" panose="020B0604020202020204" pitchFamily="34" charset="0"/>
              </a:defRPr>
            </a:lvl1pPr>
          </a:lstStyle>
          <a:p>
            <a:r>
              <a:rPr lang="de-DE"/>
              <a:t>Name | Abteilung | 30. Januar 2019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45305254-F1F9-7548-8E41-35654082BEA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5800" y="8423318"/>
            <a:ext cx="432000" cy="4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0741054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spcBef>
        <a:spcPts val="600"/>
      </a:spcBef>
      <a:spcAft>
        <a:spcPts val="600"/>
      </a:spcAft>
      <a:defRPr sz="1200" b="1" kern="1200">
        <a:solidFill>
          <a:schemeClr val="tx1"/>
        </a:solidFill>
        <a:latin typeface="+mn-lt"/>
        <a:ea typeface="+mn-ea"/>
        <a:cs typeface="+mn-cs"/>
      </a:defRPr>
    </a:lvl1pPr>
    <a:lvl2pPr marL="0" algn="l" defTabSz="914400" rtl="0" eaLnBrk="1" latinLnBrk="0" hangingPunct="1">
      <a:spcAft>
        <a:spcPts val="60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0" indent="-144000" algn="l" defTabSz="914400" rtl="0" eaLnBrk="1" latinLnBrk="0" hangingPunct="1">
      <a:spcBef>
        <a:spcPts val="500"/>
      </a:spcBef>
      <a:buClr>
        <a:schemeClr val="tx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288000" indent="-144000" algn="l" defTabSz="914400" rtl="0" eaLnBrk="1" latinLnBrk="0" hangingPunct="1">
      <a:spcBef>
        <a:spcPts val="500"/>
      </a:spcBef>
      <a:buClr>
        <a:schemeClr val="tx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432000" indent="-144000" algn="l" defTabSz="914400" rtl="0" eaLnBrk="1" latinLnBrk="0" hangingPunct="1">
      <a:spcBef>
        <a:spcPts val="500"/>
      </a:spcBef>
      <a:buClr>
        <a:schemeClr val="tx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pos="189" userDrawn="1">
          <p15:clr>
            <a:srgbClr val="F26B43"/>
          </p15:clr>
        </p15:guide>
        <p15:guide id="2" pos="4112" userDrawn="1">
          <p15:clr>
            <a:srgbClr val="F26B43"/>
          </p15:clr>
        </p15:guide>
        <p15:guide id="3" orient="horz" pos="164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r"/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9485247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r"/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8713087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r"/>
            <a:fld id="{7D817C07-CE16-5C41-9ABD-94C73CEF6061}" type="slidenum">
              <a:rPr lang="de-DE" smtClean="0"/>
              <a:pPr algn="r"/>
              <a:t>14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 dirty="0"/>
              <a:t>Name | Abteilung | 30. Januar 2019</a:t>
            </a:r>
          </a:p>
        </p:txBody>
      </p:sp>
    </p:spTree>
    <p:extLst>
      <p:ext uri="{BB962C8B-B14F-4D97-AF65-F5344CB8AC3E}">
        <p14:creationId xmlns:p14="http://schemas.microsoft.com/office/powerpoint/2010/main" val="41469330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r"/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4568820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Wer glaubt Additive Fertigung wird leicht, sobald der Druck fertig ist, der irrt gewaltig</a:t>
            </a:r>
          </a:p>
          <a:p>
            <a:r>
              <a:rPr lang="de-DE" dirty="0"/>
              <a:t>10 Tage Datenvorbereitung</a:t>
            </a:r>
          </a:p>
          <a:p>
            <a:r>
              <a:rPr lang="de-DE" dirty="0"/>
              <a:t>14 Tage Bauzeit auf der Maschine</a:t>
            </a:r>
          </a:p>
          <a:p>
            <a:r>
              <a:rPr lang="de-DE" dirty="0"/>
              <a:t>5 Tage Nacharbeit</a:t>
            </a:r>
          </a:p>
          <a:p>
            <a:r>
              <a:rPr lang="de-DE" dirty="0"/>
              <a:t>2 Gewinde nicht definiert</a:t>
            </a:r>
          </a:p>
          <a:p>
            <a:r>
              <a:rPr lang="de-DE" dirty="0"/>
              <a:t>Fertigung (relativ einfach)</a:t>
            </a:r>
          </a:p>
          <a:p>
            <a:r>
              <a:rPr lang="de-DE" dirty="0"/>
              <a:t>Bauteil undicht</a:t>
            </a:r>
          </a:p>
          <a:p>
            <a:endParaRPr lang="de-DE" dirty="0"/>
          </a:p>
          <a:p>
            <a:r>
              <a:rPr lang="de-DE" dirty="0"/>
              <a:t>30.000€, 8 Wochen verlor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r"/>
            <a:fld id="{7D817C07-CE16-5C41-9ABD-94C73CEF6061}" type="slidenum">
              <a:rPr lang="de-DE" smtClean="0"/>
              <a:pPr algn="r"/>
              <a:t>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 dirty="0"/>
              <a:t>Name | Abteilung | 30. Januar 2019</a:t>
            </a:r>
          </a:p>
        </p:txBody>
      </p:sp>
    </p:spTree>
    <p:extLst>
      <p:ext uri="{BB962C8B-B14F-4D97-AF65-F5344CB8AC3E}">
        <p14:creationId xmlns:p14="http://schemas.microsoft.com/office/powerpoint/2010/main" val="34391735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r"/>
            <a:fld id="{7D817C07-CE16-5C41-9ABD-94C73CEF6061}" type="slidenum">
              <a:rPr lang="de-DE" smtClean="0"/>
              <a:pPr algn="r"/>
              <a:t>5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 dirty="0"/>
              <a:t>Name | Abteilung | 30. Januar 2019</a:t>
            </a:r>
          </a:p>
        </p:txBody>
      </p:sp>
    </p:spTree>
    <p:extLst>
      <p:ext uri="{BB962C8B-B14F-4D97-AF65-F5344CB8AC3E}">
        <p14:creationId xmlns:p14="http://schemas.microsoft.com/office/powerpoint/2010/main" val="99485247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r"/>
            <a:fld id="{7D817C07-CE16-5C41-9ABD-94C73CEF6061}" type="slidenum">
              <a:rPr lang="de-DE" smtClean="0"/>
              <a:pPr algn="r"/>
              <a:t>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 dirty="0"/>
              <a:t>Name | Abteilung | 30. Januar 2019</a:t>
            </a:r>
          </a:p>
        </p:txBody>
      </p:sp>
    </p:spTree>
    <p:extLst>
      <p:ext uri="{BB962C8B-B14F-4D97-AF65-F5344CB8AC3E}">
        <p14:creationId xmlns:p14="http://schemas.microsoft.com/office/powerpoint/2010/main" val="314343035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r"/>
            <a:fld id="{7D817C07-CE16-5C41-9ABD-94C73CEF6061}" type="slidenum">
              <a:rPr lang="de-DE" smtClean="0"/>
              <a:pPr algn="r"/>
              <a:t>7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 dirty="0"/>
              <a:t>Name | Abteilung | 30. Januar 2019</a:t>
            </a:r>
          </a:p>
        </p:txBody>
      </p:sp>
    </p:spTree>
    <p:extLst>
      <p:ext uri="{BB962C8B-B14F-4D97-AF65-F5344CB8AC3E}">
        <p14:creationId xmlns:p14="http://schemas.microsoft.com/office/powerpoint/2010/main" val="419165015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r"/>
            <a:fld id="{7D817C07-CE16-5C41-9ABD-94C73CEF6061}" type="slidenum">
              <a:rPr lang="de-DE" smtClean="0"/>
              <a:pPr algn="r"/>
              <a:t>8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 dirty="0"/>
              <a:t>Name | Abteilung | 30. Januar 2019</a:t>
            </a:r>
          </a:p>
        </p:txBody>
      </p:sp>
    </p:spTree>
    <p:extLst>
      <p:ext uri="{BB962C8B-B14F-4D97-AF65-F5344CB8AC3E}">
        <p14:creationId xmlns:p14="http://schemas.microsoft.com/office/powerpoint/2010/main" val="114718559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r"/>
            <a:fld id="{7D817C07-CE16-5C41-9ABD-94C73CEF6061}" type="slidenum">
              <a:rPr lang="de-DE" smtClean="0"/>
              <a:pPr algn="r"/>
              <a:t>9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 dirty="0"/>
              <a:t>Name | Abteilung | 30. Januar 2019</a:t>
            </a:r>
          </a:p>
        </p:txBody>
      </p:sp>
    </p:spTree>
    <p:extLst>
      <p:ext uri="{BB962C8B-B14F-4D97-AF65-F5344CB8AC3E}">
        <p14:creationId xmlns:p14="http://schemas.microsoft.com/office/powerpoint/2010/main" val="93901259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Der Schlüssel zu weiteren Bauteilen sind erfolgreiche Projekte und tatsächlich eingesetzte Ideen.</a:t>
            </a:r>
          </a:p>
          <a:p>
            <a:endParaRPr lang="de-DE" dirty="0"/>
          </a:p>
          <a:p>
            <a:r>
              <a:rPr lang="de-DE" dirty="0"/>
              <a:t>Von hier aus können wir Gestaltungsprinzipien kopieren, verbessern und in weitere Bauteile bringen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r"/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017209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6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6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6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6.emf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6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6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5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5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5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6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5.emf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6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6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6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5" Type="http://schemas.openxmlformats.org/officeDocument/2006/relationships/image" Target="../media/image3.png"/><Relationship Id="rId4" Type="http://schemas.openxmlformats.org/officeDocument/2006/relationships/hyperlink" Target="http://www.trumpf.com/" TargetMode="Externa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3.png"/><Relationship Id="rId4" Type="http://schemas.openxmlformats.org/officeDocument/2006/relationships/hyperlink" Target="http://www.trumpf.com/" TargetMode="Externa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5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5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6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6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I Title Slid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Bildplatzhalter 34">
            <a:extLst>
              <a:ext uri="{FF2B5EF4-FFF2-40B4-BE49-F238E27FC236}">
                <a16:creationId xmlns:a16="http://schemas.microsoft.com/office/drawing/2014/main" id="{61F7B8DE-74C3-45A1-9176-E149ECFB201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174" y="0"/>
            <a:ext cx="12188825" cy="6858000"/>
          </a:xfrm>
          <a:custGeom>
            <a:avLst/>
            <a:gdLst>
              <a:gd name="connsiteX0" fmla="*/ 0 w 12188825"/>
              <a:gd name="connsiteY0" fmla="*/ 0 h 6858000"/>
              <a:gd name="connsiteX1" fmla="*/ 12188825 w 12188825"/>
              <a:gd name="connsiteY1" fmla="*/ 0 h 6858000"/>
              <a:gd name="connsiteX2" fmla="*/ 12188825 w 12188825"/>
              <a:gd name="connsiteY2" fmla="*/ 6858000 h 6858000"/>
              <a:gd name="connsiteX3" fmla="*/ 0 w 12188825"/>
              <a:gd name="connsiteY3" fmla="*/ 6858000 h 6858000"/>
              <a:gd name="connsiteX4" fmla="*/ 0 w 12188825"/>
              <a:gd name="connsiteY4" fmla="*/ 6262256 h 6858000"/>
              <a:gd name="connsiteX5" fmla="*/ 5387301 w 12188825"/>
              <a:gd name="connsiteY5" fmla="*/ 6262256 h 6858000"/>
              <a:gd name="connsiteX6" fmla="*/ 5387301 w 12188825"/>
              <a:gd name="connsiteY6" fmla="*/ 3043223 h 6858000"/>
              <a:gd name="connsiteX7" fmla="*/ 0 w 12188825"/>
              <a:gd name="connsiteY7" fmla="*/ 304322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825" h="6858000">
                <a:moveTo>
                  <a:pt x="0" y="0"/>
                </a:moveTo>
                <a:lnTo>
                  <a:pt x="12188825" y="0"/>
                </a:lnTo>
                <a:lnTo>
                  <a:pt x="12188825" y="6858000"/>
                </a:lnTo>
                <a:lnTo>
                  <a:pt x="0" y="6858000"/>
                </a:lnTo>
                <a:lnTo>
                  <a:pt x="0" y="6262256"/>
                </a:lnTo>
                <a:lnTo>
                  <a:pt x="5387301" y="6262256"/>
                </a:lnTo>
                <a:lnTo>
                  <a:pt x="5387301" y="3043223"/>
                </a:lnTo>
                <a:lnTo>
                  <a:pt x="0" y="304322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0" tIns="0" rIns="0" bIns="0" rtlCol="0" anchor="t">
            <a:noAutofit/>
          </a:bodyPr>
          <a:lstStyle>
            <a:lvl1pPr>
              <a:defRPr lang="en-US" sz="2000" b="0">
                <a:solidFill>
                  <a:schemeClr val="accent4"/>
                </a:solidFill>
                <a:latin typeface="+mn-lt"/>
              </a:defRPr>
            </a:lvl1pPr>
          </a:lstStyle>
          <a:p>
            <a:pPr lvl="0" algn="ctr"/>
            <a:r>
              <a:rPr lang="de-DE"/>
              <a:t>Bild durch Klicken auf Symbol hinzufügen</a:t>
            </a:r>
            <a:endParaRPr lang="en-US" dirty="0"/>
          </a:p>
        </p:txBody>
      </p:sp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368058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Untertitel 2">
            <a:extLst>
              <a:ext uri="{FF2B5EF4-FFF2-40B4-BE49-F238E27FC236}">
                <a16:creationId xmlns:a16="http://schemas.microsoft.com/office/drawing/2014/main" id="{1EFD6C72-2063-AD48-9727-C4AB16A6DE1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00038" y="4098351"/>
            <a:ext cx="4782950" cy="215444"/>
          </a:xfrm>
          <a:noFill/>
        </p:spPr>
        <p:txBody>
          <a:bodyPr wrap="square" lIns="216000" tIns="0" rIns="0" bIns="0" anchor="ctr">
            <a:spAutoFit/>
          </a:bodyPr>
          <a:lstStyle>
            <a:lvl1pPr marL="0" indent="0" algn="l">
              <a:buNone/>
              <a:defRPr lang="de-DE" sz="1400" b="0" kern="1200" dirty="0">
                <a:solidFill>
                  <a:srgbClr val="575756"/>
                </a:solidFill>
                <a:latin typeface="+mn-lt"/>
                <a:ea typeface="+mn-ea"/>
                <a:cs typeface="+mn-cs"/>
              </a:defRPr>
            </a:lvl1pPr>
            <a:lvl2pPr marL="457177" indent="0" algn="ctr">
              <a:buNone/>
              <a:defRPr sz="2000"/>
            </a:lvl2pPr>
            <a:lvl3pPr marL="914355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3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7" indent="0" algn="ctr">
              <a:buNone/>
              <a:defRPr sz="1600"/>
            </a:lvl9pPr>
          </a:lstStyle>
          <a:p>
            <a:r>
              <a:rPr lang="de-DE" dirty="0"/>
              <a:t>Dachzeile I </a:t>
            </a:r>
            <a:r>
              <a:rPr lang="de-DE" dirty="0" err="1"/>
              <a:t>O</a:t>
            </a:r>
            <a:r>
              <a:rPr lang="de-DE" b="0" i="0" dirty="0" err="1">
                <a:solidFill>
                  <a:srgbClr val="242424"/>
                </a:solidFill>
                <a:effectLst/>
                <a:latin typeface="-apple-system"/>
              </a:rPr>
              <a:t>verline</a:t>
            </a:r>
            <a:endParaRPr lang="de-DE" dirty="0"/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97AA3D91-2715-1245-B649-15816B60CB0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00037" y="4329257"/>
            <a:ext cx="4782951" cy="1064355"/>
          </a:xfrm>
          <a:noFill/>
          <a:effectLst/>
        </p:spPr>
        <p:txBody>
          <a:bodyPr vert="horz" lIns="198000" tIns="0" rIns="0" anchor="b" anchorCtr="0">
            <a:noAutofit/>
          </a:bodyPr>
          <a:lstStyle>
            <a:lvl1pPr marL="0"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3600" b="0" kern="1200" cap="none" baseline="0" dirty="0">
                <a:solidFill>
                  <a:schemeClr val="tx1"/>
                </a:solidFill>
                <a:latin typeface="+mn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Überschrift</a:t>
            </a:r>
            <a:br>
              <a:rPr lang="de-DE" dirty="0"/>
            </a:br>
            <a:r>
              <a:rPr lang="de-DE" dirty="0"/>
              <a:t>Headli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E31E8C8-7C50-4010-8FA8-5E3FC76DB094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300038" y="5824879"/>
            <a:ext cx="4782950" cy="215444"/>
          </a:xfrm>
        </p:spPr>
        <p:txBody>
          <a:bodyPr lIns="216000" tIns="0" rIns="0" bIns="0"/>
          <a:lstStyle>
            <a:lvl1pPr>
              <a:spcBef>
                <a:spcPts val="600"/>
              </a:spcBef>
              <a:spcAft>
                <a:spcPts val="600"/>
              </a:spcAft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Thomas Kieferle | Innovationswerkstatt</a:t>
            </a:r>
          </a:p>
        </p:txBody>
      </p:sp>
      <p:pic>
        <p:nvPicPr>
          <p:cNvPr id="36" name="Grafik 35">
            <a:extLst>
              <a:ext uri="{FF2B5EF4-FFF2-40B4-BE49-F238E27FC236}">
                <a16:creationId xmlns:a16="http://schemas.microsoft.com/office/drawing/2014/main" id="{62ED6E0A-5812-49BA-9B01-F8D9CF54412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7958" y="3174416"/>
            <a:ext cx="2346511" cy="7901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8489216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:1 Text ohne Hintergrund links +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Bildplatzhalter 5">
            <a:extLst>
              <a:ext uri="{FF2B5EF4-FFF2-40B4-BE49-F238E27FC236}">
                <a16:creationId xmlns:a16="http://schemas.microsoft.com/office/drawing/2014/main" id="{52966113-C76A-418D-A5A5-4F949147C15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3174"/>
            <a:ext cx="6096000" cy="6854821"/>
          </a:xfrm>
          <a:solidFill>
            <a:schemeClr val="accent2"/>
          </a:solidFill>
        </p:spPr>
        <p:txBody>
          <a:bodyPr anchor="ctr"/>
          <a:lstStyle>
            <a:lvl1pPr algn="ctr">
              <a:defRPr sz="2000" b="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6A2C08B9-AEF0-4978-B065-A228A3077D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59515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6" progId="TCLayout.ActiveDocument.1">
                  <p:embed/>
                </p:oleObj>
              </mc:Choice>
              <mc:Fallback>
                <p:oleObj name="think-cell Folie" r:id="rId3" imgW="347" imgH="34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6A2C08B9-AEF0-4978-B065-A228A3077D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platzhalter 2">
            <a:extLst>
              <a:ext uri="{FF2B5EF4-FFF2-40B4-BE49-F238E27FC236}">
                <a16:creationId xmlns:a16="http://schemas.microsoft.com/office/drawing/2014/main" id="{648D76BE-D7BB-054B-939E-03F12B816684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528805" y="1490868"/>
            <a:ext cx="5164043" cy="498707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77A6900E-2103-0E4A-BADA-73F03F00FA9E}"/>
              </a:ext>
            </a:extLst>
          </p:cNvPr>
          <p:cNvSpPr>
            <a:spLocks noGrp="1"/>
          </p:cNvSpPr>
          <p:nvPr>
            <p:ph type="body" idx="11"/>
          </p:nvPr>
        </p:nvSpPr>
        <p:spPr>
          <a:xfrm>
            <a:off x="528805" y="3775223"/>
            <a:ext cx="5164043" cy="498707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6" name="Titel 1">
            <a:extLst>
              <a:ext uri="{FF2B5EF4-FFF2-40B4-BE49-F238E27FC236}">
                <a16:creationId xmlns:a16="http://schemas.microsoft.com/office/drawing/2014/main" id="{4B32E3D2-3756-DC48-AAD3-DC06050CE64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15938" y="351928"/>
            <a:ext cx="5148262" cy="629148"/>
          </a:xfrm>
        </p:spPr>
        <p:txBody>
          <a:bodyPr vert="horz" anchor="t"/>
          <a:lstStyle>
            <a:lvl1pPr algn="l">
              <a:lnSpc>
                <a:spcPct val="100000"/>
              </a:lnSpc>
              <a:defRPr sz="2800" b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Überschrift I Headline</a:t>
            </a:r>
          </a:p>
        </p:txBody>
      </p:sp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C185099C-4D22-408C-B783-C83493FA51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0624" y="2087363"/>
            <a:ext cx="5148262" cy="13137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357188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536575" indent="-179388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9B950335-33C7-4174-B814-7F1D09EB8FC1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535816" y="4400550"/>
            <a:ext cx="5148262" cy="13137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357188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536575" indent="-179388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20" name="Foliennummernplatzhalter 5">
            <a:extLst>
              <a:ext uri="{FF2B5EF4-FFF2-40B4-BE49-F238E27FC236}">
                <a16:creationId xmlns:a16="http://schemas.microsoft.com/office/drawing/2014/main" id="{EF47FE27-85AE-4D2E-970A-B8617AC3775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Nr.›</a:t>
            </a:fld>
            <a:r>
              <a:rPr lang="de-DE" dirty="0">
                <a:solidFill>
                  <a:schemeClr val="accent1"/>
                </a:solidFill>
              </a:rPr>
              <a:t>  </a:t>
            </a:r>
            <a:r>
              <a:rPr lang="de-DE" b="0" dirty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21" name="Fußzeilenplatzhalter 3">
            <a:extLst>
              <a:ext uri="{FF2B5EF4-FFF2-40B4-BE49-F238E27FC236}">
                <a16:creationId xmlns:a16="http://schemas.microsoft.com/office/drawing/2014/main" id="{ED3A61B7-AF6D-4802-9BC2-D6C1E0F850C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DE"/>
              <a:t>Jeanette Thumm Update Empower</a:t>
            </a:r>
            <a:endParaRPr lang="de-DE" dirty="0"/>
          </a:p>
        </p:txBody>
      </p:sp>
      <p:sp>
        <p:nvSpPr>
          <p:cNvPr id="23" name="Datumsplatzhalter 8">
            <a:extLst>
              <a:ext uri="{FF2B5EF4-FFF2-40B4-BE49-F238E27FC236}">
                <a16:creationId xmlns:a16="http://schemas.microsoft.com/office/drawing/2014/main" id="{981CBBCE-2F50-4DAA-8EEF-BE13E378945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AB19A4FC-76FE-4B52-A6BC-C4A9405F94A9}" type="datetime1">
              <a:rPr lang="de-DE"/>
              <a:pPr/>
              <a:t>21.04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42617871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3568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1:1 Bild-Text ohne Hinter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6A2C08B9-AEF0-4978-B065-A228A3077D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75021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6" progId="TCLayout.ActiveDocument.1">
                  <p:embed/>
                </p:oleObj>
              </mc:Choice>
              <mc:Fallback>
                <p:oleObj name="think-cell Folie" r:id="rId3" imgW="347" imgH="34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6A2C08B9-AEF0-4978-B065-A228A3077D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Bildplatzhalter 2">
            <a:extLst>
              <a:ext uri="{FF2B5EF4-FFF2-40B4-BE49-F238E27FC236}">
                <a16:creationId xmlns:a16="http://schemas.microsoft.com/office/drawing/2014/main" id="{BE2BDB5E-62B9-D04A-B1DD-8A52A7DB93A2}"/>
              </a:ext>
            </a:extLst>
          </p:cNvPr>
          <p:cNvSpPr>
            <a:spLocks noGrp="1"/>
          </p:cNvSpPr>
          <p:nvPr>
            <p:ph type="pic" idx="20"/>
          </p:nvPr>
        </p:nvSpPr>
        <p:spPr>
          <a:xfrm>
            <a:off x="6096000" y="3429000"/>
            <a:ext cx="6096002" cy="3429000"/>
          </a:xfrm>
          <a:solidFill>
            <a:schemeClr val="accent2"/>
          </a:solidFill>
        </p:spPr>
        <p:txBody>
          <a:bodyPr anchor="ctr"/>
          <a:lstStyle>
            <a:lvl1pPr marL="0" indent="0" algn="ctr">
              <a:buNone/>
              <a:defRPr sz="2000" b="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9" name="Bildplatzhalter 2">
            <a:extLst>
              <a:ext uri="{FF2B5EF4-FFF2-40B4-BE49-F238E27FC236}">
                <a16:creationId xmlns:a16="http://schemas.microsoft.com/office/drawing/2014/main" id="{333C2A2D-4CA3-DF47-8E60-5FF58CF3A733}"/>
              </a:ext>
            </a:extLst>
          </p:cNvPr>
          <p:cNvSpPr>
            <a:spLocks noGrp="1"/>
          </p:cNvSpPr>
          <p:nvPr>
            <p:ph type="pic" idx="19"/>
          </p:nvPr>
        </p:nvSpPr>
        <p:spPr>
          <a:xfrm>
            <a:off x="6096000" y="0"/>
            <a:ext cx="6096002" cy="3429000"/>
          </a:xfrm>
          <a:solidFill>
            <a:schemeClr val="accent2"/>
          </a:solidFill>
        </p:spPr>
        <p:txBody>
          <a:bodyPr anchor="ctr"/>
          <a:lstStyle>
            <a:lvl1pPr marL="0" indent="0" algn="ctr">
              <a:buNone/>
              <a:defRPr sz="2000" b="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cxnSp>
        <p:nvCxnSpPr>
          <p:cNvPr id="24" name="Gerade Verbindung 2">
            <a:extLst>
              <a:ext uri="{FF2B5EF4-FFF2-40B4-BE49-F238E27FC236}">
                <a16:creationId xmlns:a16="http://schemas.microsoft.com/office/drawing/2014/main" id="{3359F94B-516A-4AD9-887B-36C3FE5A9DC8}"/>
              </a:ext>
            </a:extLst>
          </p:cNvPr>
          <p:cNvCxnSpPr>
            <a:cxnSpLocks/>
          </p:cNvCxnSpPr>
          <p:nvPr userDrawn="1"/>
        </p:nvCxnSpPr>
        <p:spPr>
          <a:xfrm>
            <a:off x="6096000" y="3429000"/>
            <a:ext cx="6096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330AF51F-D691-1542-9D10-302D5F405268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528806" y="1474163"/>
            <a:ext cx="5144104" cy="429133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1" name="Textplatzhalter 2">
            <a:extLst>
              <a:ext uri="{FF2B5EF4-FFF2-40B4-BE49-F238E27FC236}">
                <a16:creationId xmlns:a16="http://schemas.microsoft.com/office/drawing/2014/main" id="{6A23CFF2-F559-F74E-8130-4F216473CC9A}"/>
              </a:ext>
            </a:extLst>
          </p:cNvPr>
          <p:cNvSpPr>
            <a:spLocks noGrp="1"/>
          </p:cNvSpPr>
          <p:nvPr>
            <p:ph type="body" idx="11"/>
          </p:nvPr>
        </p:nvSpPr>
        <p:spPr>
          <a:xfrm>
            <a:off x="528806" y="3758519"/>
            <a:ext cx="5144104" cy="429134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2" name="Titel 1">
            <a:extLst>
              <a:ext uri="{FF2B5EF4-FFF2-40B4-BE49-F238E27FC236}">
                <a16:creationId xmlns:a16="http://schemas.microsoft.com/office/drawing/2014/main" id="{85A74C18-DD35-1E41-97BE-603FD5CB42B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18531" y="333375"/>
            <a:ext cx="5145669" cy="647700"/>
          </a:xfrm>
        </p:spPr>
        <p:txBody>
          <a:bodyPr vert="horz" anchor="t"/>
          <a:lstStyle>
            <a:lvl1pPr algn="l">
              <a:lnSpc>
                <a:spcPct val="100000"/>
              </a:lnSpc>
              <a:defRPr sz="2800" b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Überschrift I Headline</a:t>
            </a:r>
          </a:p>
        </p:txBody>
      </p:sp>
      <p:sp>
        <p:nvSpPr>
          <p:cNvPr id="23" name="Textplatzhalter 2">
            <a:extLst>
              <a:ext uri="{FF2B5EF4-FFF2-40B4-BE49-F238E27FC236}">
                <a16:creationId xmlns:a16="http://schemas.microsoft.com/office/drawing/2014/main" id="{16377AD8-A9E5-4F78-921C-ECD8EB60350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0624" y="2020961"/>
            <a:ext cx="5128384" cy="13137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357188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536575" indent="-179388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F813E7D0-3743-42F7-BD0B-0172EE571E32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535816" y="4400550"/>
            <a:ext cx="5128384" cy="13137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357188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536575" indent="-179388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28" name="Foliennummernplatzhalter 5">
            <a:extLst>
              <a:ext uri="{FF2B5EF4-FFF2-40B4-BE49-F238E27FC236}">
                <a16:creationId xmlns:a16="http://schemas.microsoft.com/office/drawing/2014/main" id="{E82BC249-56FB-4B16-99D0-ED022CE2D9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Nr.›</a:t>
            </a:fld>
            <a:r>
              <a:rPr lang="de-DE" dirty="0">
                <a:solidFill>
                  <a:schemeClr val="accent1"/>
                </a:solidFill>
              </a:rPr>
              <a:t>  </a:t>
            </a:r>
            <a:r>
              <a:rPr lang="de-DE" b="0" dirty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29" name="Fußzeilenplatzhalter 3">
            <a:extLst>
              <a:ext uri="{FF2B5EF4-FFF2-40B4-BE49-F238E27FC236}">
                <a16:creationId xmlns:a16="http://schemas.microsoft.com/office/drawing/2014/main" id="{BA60D1CF-87A2-4E5C-B614-BB50A6BB508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DE"/>
              <a:t>Jeanette Thumm Update Empower</a:t>
            </a:r>
            <a:endParaRPr lang="de-DE" dirty="0"/>
          </a:p>
        </p:txBody>
      </p:sp>
      <p:sp>
        <p:nvSpPr>
          <p:cNvPr id="30" name="Datumsplatzhalter 8">
            <a:extLst>
              <a:ext uri="{FF2B5EF4-FFF2-40B4-BE49-F238E27FC236}">
                <a16:creationId xmlns:a16="http://schemas.microsoft.com/office/drawing/2014/main" id="{8DF9F61A-EB57-4769-AE60-5C6DB24E57C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AB19A4FC-76FE-4B52-A6BC-C4A9405F94A9}" type="datetime1">
              <a:rPr lang="de-DE"/>
              <a:pPr/>
              <a:t>21.04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97418369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3568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ilder links + Text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55BBCA1C-5361-4EFC-ADD1-319A28D03D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08455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6" progId="TCLayout.ActiveDocument.1">
                  <p:embed/>
                </p:oleObj>
              </mc:Choice>
              <mc:Fallback>
                <p:oleObj name="think-cell Folie" r:id="rId3" imgW="347" imgH="34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55BBCA1C-5361-4EFC-ADD1-319A28D03D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Bildplatzhalter 31">
            <a:extLst>
              <a:ext uri="{FF2B5EF4-FFF2-40B4-BE49-F238E27FC236}">
                <a16:creationId xmlns:a16="http://schemas.microsoft.com/office/drawing/2014/main" id="{34189E02-004A-3B45-B64D-B17613D5530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3345700" cy="6839277"/>
          </a:xfrm>
          <a:solidFill>
            <a:schemeClr val="accent2"/>
          </a:solidFill>
        </p:spPr>
        <p:txBody>
          <a:bodyPr anchor="ctr"/>
          <a:lstStyle>
            <a:lvl1pPr algn="ctr">
              <a:defRPr sz="2000" b="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9" name="Textplatzhalter 2">
            <a:extLst>
              <a:ext uri="{FF2B5EF4-FFF2-40B4-BE49-F238E27FC236}">
                <a16:creationId xmlns:a16="http://schemas.microsoft.com/office/drawing/2014/main" id="{5A36E4C5-B34F-A34D-B704-44E7C5E02A00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3838273" y="1473639"/>
            <a:ext cx="7866365" cy="461325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9A29746E-65FE-F542-B2CE-F671A8834222}"/>
              </a:ext>
            </a:extLst>
          </p:cNvPr>
          <p:cNvSpPr>
            <a:spLocks noGrp="1"/>
          </p:cNvSpPr>
          <p:nvPr>
            <p:ph type="body" idx="11"/>
          </p:nvPr>
        </p:nvSpPr>
        <p:spPr>
          <a:xfrm>
            <a:off x="3838274" y="3747051"/>
            <a:ext cx="7866365" cy="461325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4" name="Titel 1">
            <a:extLst>
              <a:ext uri="{FF2B5EF4-FFF2-40B4-BE49-F238E27FC236}">
                <a16:creationId xmlns:a16="http://schemas.microsoft.com/office/drawing/2014/main" id="{EF23026A-C489-5144-8F71-E23153F1C26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36733" y="333376"/>
            <a:ext cx="7901402" cy="647700"/>
          </a:xfrm>
        </p:spPr>
        <p:txBody>
          <a:bodyPr vert="horz" anchor="t"/>
          <a:lstStyle>
            <a:lvl1pPr algn="l">
              <a:lnSpc>
                <a:spcPct val="100000"/>
              </a:lnSpc>
              <a:defRPr sz="2800" b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Überschrift I Headline</a:t>
            </a:r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FBFA4FDA-F0D7-4446-89CE-C26F34C800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38273" y="2115232"/>
            <a:ext cx="7866365" cy="13137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357188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536575" indent="-179388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25D26A09-7D14-40D0-A365-2AEE6BBCCDCA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3836987" y="4394546"/>
            <a:ext cx="7866365" cy="13137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357188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536575" indent="-179388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6" name="Foliennummernplatzhalter 5">
            <a:extLst>
              <a:ext uri="{FF2B5EF4-FFF2-40B4-BE49-F238E27FC236}">
                <a16:creationId xmlns:a16="http://schemas.microsoft.com/office/drawing/2014/main" id="{7CF7466D-0F01-40F1-94E3-AF5BB86D8A0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40163" y="6327352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Nr.›</a:t>
            </a:fld>
            <a:r>
              <a:rPr lang="de-DE" dirty="0">
                <a:solidFill>
                  <a:schemeClr val="accent1"/>
                </a:solidFill>
              </a:rPr>
              <a:t>  </a:t>
            </a:r>
            <a:r>
              <a:rPr lang="de-DE" b="0" dirty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17" name="Fußzeilenplatzhalter 3">
            <a:extLst>
              <a:ext uri="{FF2B5EF4-FFF2-40B4-BE49-F238E27FC236}">
                <a16:creationId xmlns:a16="http://schemas.microsoft.com/office/drawing/2014/main" id="{4EAA6B20-26A8-45CC-9C95-68B14A328A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20886" y="6327353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DE"/>
              <a:t>Jeanette Thumm Update Empower</a:t>
            </a:r>
            <a:endParaRPr lang="de-DE" dirty="0"/>
          </a:p>
        </p:txBody>
      </p:sp>
      <p:sp>
        <p:nvSpPr>
          <p:cNvPr id="20" name="Datumsplatzhalter 8">
            <a:extLst>
              <a:ext uri="{FF2B5EF4-FFF2-40B4-BE49-F238E27FC236}">
                <a16:creationId xmlns:a16="http://schemas.microsoft.com/office/drawing/2014/main" id="{2FF53B4A-334E-4924-BF1C-438DB6679D2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326699" y="6330528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AB19A4FC-76FE-4B52-A6BC-C4A9405F94A9}" type="datetime1">
              <a:rPr lang="de-DE"/>
              <a:pPr/>
              <a:t>21.04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03289225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2411">
          <p15:clr>
            <a:srgbClr val="FBAE40"/>
          </p15:clr>
        </p15:guide>
        <p15:guide id="2" orient="horz" pos="191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r links + Text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>
            <a:extLst>
              <a:ext uri="{FF2B5EF4-FFF2-40B4-BE49-F238E27FC236}">
                <a16:creationId xmlns:a16="http://schemas.microsoft.com/office/drawing/2014/main" id="{DDBA651D-E114-4607-9889-C311A381317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8225" y="-19051"/>
            <a:ext cx="3362151" cy="3448035"/>
          </a:xfrm>
          <a:solidFill>
            <a:schemeClr val="accent2"/>
          </a:solidFill>
        </p:spPr>
        <p:txBody>
          <a:bodyPr anchor="ctr"/>
          <a:lstStyle>
            <a:lvl1pPr algn="ctr">
              <a:defRPr sz="2000" b="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2" name="Bildplatzhalter 5">
            <a:extLst>
              <a:ext uri="{FF2B5EF4-FFF2-40B4-BE49-F238E27FC236}">
                <a16:creationId xmlns:a16="http://schemas.microsoft.com/office/drawing/2014/main" id="{61E63147-F22B-4A04-A594-4BBFA5D7C5B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8224" y="3428999"/>
            <a:ext cx="3362151" cy="3419475"/>
          </a:xfrm>
          <a:solidFill>
            <a:schemeClr val="accent2"/>
          </a:solidFill>
        </p:spPr>
        <p:txBody>
          <a:bodyPr anchor="ctr"/>
          <a:lstStyle>
            <a:lvl1pPr algn="ctr">
              <a:defRPr sz="2000" b="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5E42E98-370F-437C-AD70-D37D3BE5AC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49436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6" progId="TCLayout.ActiveDocument.1">
                  <p:embed/>
                </p:oleObj>
              </mc:Choice>
              <mc:Fallback>
                <p:oleObj name="think-cell Folie" r:id="rId3" imgW="347" imgH="34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5E42E98-370F-437C-AD70-D37D3BE5AC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" name="Gerade Verbindung 2">
            <a:extLst>
              <a:ext uri="{FF2B5EF4-FFF2-40B4-BE49-F238E27FC236}">
                <a16:creationId xmlns:a16="http://schemas.microsoft.com/office/drawing/2014/main" id="{EC3C38D3-F2CD-F847-854A-F18BC84ED701}"/>
              </a:ext>
            </a:extLst>
          </p:cNvPr>
          <p:cNvCxnSpPr>
            <a:cxnSpLocks/>
          </p:cNvCxnSpPr>
          <p:nvPr userDrawn="1"/>
        </p:nvCxnSpPr>
        <p:spPr>
          <a:xfrm flipH="1">
            <a:off x="-14139" y="3429000"/>
            <a:ext cx="340980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E45B7302-96D1-45E3-82A1-018C8521A1D8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3827463" y="1493517"/>
            <a:ext cx="7848602" cy="461325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9" name="Textplatzhalter 2">
            <a:extLst>
              <a:ext uri="{FF2B5EF4-FFF2-40B4-BE49-F238E27FC236}">
                <a16:creationId xmlns:a16="http://schemas.microsoft.com/office/drawing/2014/main" id="{D443E838-AED4-45A0-A99B-6CE8316CABF4}"/>
              </a:ext>
            </a:extLst>
          </p:cNvPr>
          <p:cNvSpPr>
            <a:spLocks noGrp="1"/>
          </p:cNvSpPr>
          <p:nvPr>
            <p:ph type="body" idx="11"/>
          </p:nvPr>
        </p:nvSpPr>
        <p:spPr>
          <a:xfrm>
            <a:off x="3827463" y="3747051"/>
            <a:ext cx="7848602" cy="461325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0" name="Titel 1">
            <a:extLst>
              <a:ext uri="{FF2B5EF4-FFF2-40B4-BE49-F238E27FC236}">
                <a16:creationId xmlns:a16="http://schemas.microsoft.com/office/drawing/2014/main" id="{5DCE0CC1-357A-4170-AD6E-9341D889E58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27463" y="333375"/>
            <a:ext cx="7848600" cy="647700"/>
          </a:xfrm>
        </p:spPr>
        <p:txBody>
          <a:bodyPr vert="horz" anchor="t"/>
          <a:lstStyle>
            <a:lvl1pPr algn="l">
              <a:lnSpc>
                <a:spcPct val="100000"/>
              </a:lnSpc>
              <a:defRPr sz="2800" b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Überschrift I Headline</a:t>
            </a:r>
          </a:p>
        </p:txBody>
      </p:sp>
      <p:sp>
        <p:nvSpPr>
          <p:cNvPr id="21" name="Textplatzhalter 2">
            <a:extLst>
              <a:ext uri="{FF2B5EF4-FFF2-40B4-BE49-F238E27FC236}">
                <a16:creationId xmlns:a16="http://schemas.microsoft.com/office/drawing/2014/main" id="{DB07444C-CE66-4BC0-B330-E8F4D05703C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27462" y="2115232"/>
            <a:ext cx="7848602" cy="13137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357188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536575" indent="-179388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498F4914-3738-4F17-807C-2D2F0CDD958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3827463" y="4394546"/>
            <a:ext cx="7848602" cy="13137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357188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536575" indent="-179388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4" name="Foliennummernplatzhalter 5">
            <a:extLst>
              <a:ext uri="{FF2B5EF4-FFF2-40B4-BE49-F238E27FC236}">
                <a16:creationId xmlns:a16="http://schemas.microsoft.com/office/drawing/2014/main" id="{01E1C9EC-540D-4357-872A-5F104DBD7D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4968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Nr.›</a:t>
            </a:fld>
            <a:r>
              <a:rPr lang="de-DE" dirty="0">
                <a:solidFill>
                  <a:schemeClr val="accent1"/>
                </a:solidFill>
              </a:rPr>
              <a:t>  </a:t>
            </a:r>
            <a:r>
              <a:rPr lang="de-DE" b="0" dirty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15" name="Fußzeilenplatzhalter 3">
            <a:extLst>
              <a:ext uri="{FF2B5EF4-FFF2-40B4-BE49-F238E27FC236}">
                <a16:creationId xmlns:a16="http://schemas.microsoft.com/office/drawing/2014/main" id="{15D42A8F-4D51-4FA1-AE6D-2460CB2B65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3041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DE"/>
              <a:t>Jeanette Thumm Update Empower</a:t>
            </a:r>
            <a:endParaRPr lang="de-DE" dirty="0"/>
          </a:p>
        </p:txBody>
      </p:sp>
      <p:sp>
        <p:nvSpPr>
          <p:cNvPr id="16" name="Datumsplatzhalter 8">
            <a:extLst>
              <a:ext uri="{FF2B5EF4-FFF2-40B4-BE49-F238E27FC236}">
                <a16:creationId xmlns:a16="http://schemas.microsoft.com/office/drawing/2014/main" id="{0E903174-228A-48D5-BA67-1EB0CAE8BDA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33622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AB19A4FC-76FE-4B52-A6BC-C4A9405F94A9}" type="datetime1">
              <a:rPr lang="de-DE"/>
              <a:pPr/>
              <a:t>21.04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68418729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2411">
          <p15:clr>
            <a:srgbClr val="FBAE40"/>
          </p15:clr>
        </p15:guide>
        <p15:guide id="2" orient="horz" pos="191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Bildplatzhalter 18">
            <a:extLst>
              <a:ext uri="{FF2B5EF4-FFF2-40B4-BE49-F238E27FC236}">
                <a16:creationId xmlns:a16="http://schemas.microsoft.com/office/drawing/2014/main" id="{7958B8C8-CAFE-42A7-8053-5C66C74F1E4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846300" y="0"/>
            <a:ext cx="3345700" cy="6839277"/>
          </a:xfrm>
          <a:custGeom>
            <a:avLst/>
            <a:gdLst>
              <a:gd name="connsiteX0" fmla="*/ 1351215 w 3345700"/>
              <a:gd name="connsiteY0" fmla="*/ 6078036 h 6839277"/>
              <a:gd name="connsiteX1" fmla="*/ 1351215 w 3345700"/>
              <a:gd name="connsiteY1" fmla="*/ 6655074 h 6839277"/>
              <a:gd name="connsiteX2" fmla="*/ 3064869 w 3345700"/>
              <a:gd name="connsiteY2" fmla="*/ 6655074 h 6839277"/>
              <a:gd name="connsiteX3" fmla="*/ 3064869 w 3345700"/>
              <a:gd name="connsiteY3" fmla="*/ 6078036 h 6839277"/>
              <a:gd name="connsiteX4" fmla="*/ 0 w 3345700"/>
              <a:gd name="connsiteY4" fmla="*/ 0 h 6839277"/>
              <a:gd name="connsiteX5" fmla="*/ 3345700 w 3345700"/>
              <a:gd name="connsiteY5" fmla="*/ 0 h 6839277"/>
              <a:gd name="connsiteX6" fmla="*/ 3345700 w 3345700"/>
              <a:gd name="connsiteY6" fmla="*/ 6839277 h 6839277"/>
              <a:gd name="connsiteX7" fmla="*/ 0 w 3345700"/>
              <a:gd name="connsiteY7" fmla="*/ 6839277 h 68392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345700" h="6839277">
                <a:moveTo>
                  <a:pt x="1351215" y="6078036"/>
                </a:moveTo>
                <a:lnTo>
                  <a:pt x="1351215" y="6655074"/>
                </a:lnTo>
                <a:lnTo>
                  <a:pt x="3064869" y="6655074"/>
                </a:lnTo>
                <a:lnTo>
                  <a:pt x="3064869" y="6078036"/>
                </a:lnTo>
                <a:close/>
                <a:moveTo>
                  <a:pt x="0" y="0"/>
                </a:moveTo>
                <a:lnTo>
                  <a:pt x="3345700" y="0"/>
                </a:lnTo>
                <a:lnTo>
                  <a:pt x="3345700" y="6839277"/>
                </a:lnTo>
                <a:lnTo>
                  <a:pt x="0" y="6839277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anchor="ctr">
            <a:noAutofit/>
          </a:bodyPr>
          <a:lstStyle>
            <a:lvl1pPr algn="ctr">
              <a:defRPr sz="2000" b="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A6868568-F595-3A49-81B7-E70EE5D7CE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4540" y="340234"/>
            <a:ext cx="7824478" cy="853467"/>
          </a:xfrm>
        </p:spPr>
        <p:txBody>
          <a:bodyPr vert="horz"/>
          <a:lstStyle>
            <a:lvl1pPr>
              <a:defRPr b="0">
                <a:latin typeface="+mn-lt"/>
              </a:defRPr>
            </a:lvl1pPr>
          </a:lstStyle>
          <a:p>
            <a:r>
              <a:rPr lang="de-DE" dirty="0"/>
              <a:t>Überschrift I Headline</a:t>
            </a:r>
          </a:p>
        </p:txBody>
      </p:sp>
      <p:sp>
        <p:nvSpPr>
          <p:cNvPr id="13" name="Textplatzhalter 4">
            <a:extLst>
              <a:ext uri="{FF2B5EF4-FFF2-40B4-BE49-F238E27FC236}">
                <a16:creationId xmlns:a16="http://schemas.microsoft.com/office/drawing/2014/main" id="{8C2EBE95-CD31-5247-9471-79AD41C1550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5938" y="831428"/>
            <a:ext cx="7822992" cy="362273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 dirty="0"/>
              <a:t>Untertitel bearbeiten I Edit </a:t>
            </a:r>
            <a:r>
              <a:rPr lang="de-DE" dirty="0" err="1"/>
              <a:t>subtitles</a:t>
            </a:r>
            <a:endParaRPr lang="de-DE" dirty="0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3AB03A04-FA85-42CF-9FF6-36EBA9F67533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514540" y="1473639"/>
            <a:ext cx="7822992" cy="461325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F6044BCB-E4BE-4F27-9EEC-5E1B167E15A6}"/>
              </a:ext>
            </a:extLst>
          </p:cNvPr>
          <p:cNvSpPr>
            <a:spLocks noGrp="1"/>
          </p:cNvSpPr>
          <p:nvPr>
            <p:ph type="body" idx="11"/>
          </p:nvPr>
        </p:nvSpPr>
        <p:spPr>
          <a:xfrm>
            <a:off x="514540" y="3747051"/>
            <a:ext cx="7822992" cy="461325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978D86B-2F1D-4155-8EBB-0B5C72E8290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4539" y="2115232"/>
            <a:ext cx="7822992" cy="13137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357188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536575" indent="-179388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DDED4F96-1124-4A3E-9972-17B591BBD57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2303" y="4394546"/>
            <a:ext cx="7822992" cy="13137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357188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536575" indent="-179388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22" name="Foliennummernplatzhalter 5">
            <a:extLst>
              <a:ext uri="{FF2B5EF4-FFF2-40B4-BE49-F238E27FC236}">
                <a16:creationId xmlns:a16="http://schemas.microsoft.com/office/drawing/2014/main" id="{97B837A3-6F35-4DC0-B459-C97E280C61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Nr.›</a:t>
            </a:fld>
            <a:r>
              <a:rPr lang="de-DE" dirty="0">
                <a:solidFill>
                  <a:schemeClr val="accent1"/>
                </a:solidFill>
              </a:rPr>
              <a:t>  </a:t>
            </a:r>
            <a:r>
              <a:rPr lang="de-DE" b="0" dirty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23" name="Fußzeilenplatzhalter 3">
            <a:extLst>
              <a:ext uri="{FF2B5EF4-FFF2-40B4-BE49-F238E27FC236}">
                <a16:creationId xmlns:a16="http://schemas.microsoft.com/office/drawing/2014/main" id="{BEC7606E-95C9-4069-B619-8218429B5E9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DE"/>
              <a:t>Jeanette Thumm Update Empower</a:t>
            </a:r>
            <a:endParaRPr lang="de-DE" dirty="0"/>
          </a:p>
        </p:txBody>
      </p:sp>
      <p:sp>
        <p:nvSpPr>
          <p:cNvPr id="24" name="Datumsplatzhalter 8">
            <a:extLst>
              <a:ext uri="{FF2B5EF4-FFF2-40B4-BE49-F238E27FC236}">
                <a16:creationId xmlns:a16="http://schemas.microsoft.com/office/drawing/2014/main" id="{83D96F44-6146-4F95-A800-8EF5BCA7B07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AB19A4FC-76FE-4B52-A6BC-C4A9405F94A9}" type="datetime1">
              <a:rPr lang="de-DE"/>
              <a:pPr/>
              <a:t>21.04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3599507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4520">
          <p15:clr>
            <a:srgbClr val="FBAE40"/>
          </p15:clr>
        </p15:guide>
        <p15:guide id="2" orient="horz" pos="1911">
          <p15:clr>
            <a:srgbClr val="FBAE40"/>
          </p15:clr>
        </p15:guide>
        <p15:guide id="3" pos="7197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91205BD9-5B50-4C73-A3B8-2BDDDF581F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007783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6" progId="TCLayout.ActiveDocument.1">
                  <p:embed/>
                </p:oleObj>
              </mc:Choice>
              <mc:Fallback>
                <p:oleObj name="think-cell Folie" r:id="rId3" imgW="347" imgH="34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91205BD9-5B50-4C73-A3B8-2BDDDF581F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Rechteck 28">
            <a:extLst>
              <a:ext uri="{FF2B5EF4-FFF2-40B4-BE49-F238E27FC236}">
                <a16:creationId xmlns:a16="http://schemas.microsoft.com/office/drawing/2014/main" id="{E6193698-66BD-41AB-9D47-C3D4932D23BF}"/>
              </a:ext>
            </a:extLst>
          </p:cNvPr>
          <p:cNvSpPr/>
          <p:nvPr userDrawn="1"/>
        </p:nvSpPr>
        <p:spPr>
          <a:xfrm>
            <a:off x="8446501" y="6369049"/>
            <a:ext cx="1789699" cy="30598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err="1"/>
          </a:p>
        </p:txBody>
      </p:sp>
      <p:sp>
        <p:nvSpPr>
          <p:cNvPr id="22" name="Bildplatzhalter 31">
            <a:extLst>
              <a:ext uri="{FF2B5EF4-FFF2-40B4-BE49-F238E27FC236}">
                <a16:creationId xmlns:a16="http://schemas.microsoft.com/office/drawing/2014/main" id="{8565B0AF-2EF3-9643-8325-EFFCEBCDAA0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846300" y="3432175"/>
            <a:ext cx="3345700" cy="3430904"/>
          </a:xfrm>
          <a:solidFill>
            <a:schemeClr val="accent2"/>
          </a:solidFill>
        </p:spPr>
        <p:txBody>
          <a:bodyPr anchor="ctr"/>
          <a:lstStyle>
            <a:lvl1pPr algn="ctr">
              <a:defRPr sz="2000" b="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0" name="Bildplatzhalter 31">
            <a:extLst>
              <a:ext uri="{FF2B5EF4-FFF2-40B4-BE49-F238E27FC236}">
                <a16:creationId xmlns:a16="http://schemas.microsoft.com/office/drawing/2014/main" id="{F9C7625C-CB5B-A54F-BA62-2F69D7398AA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846300" y="0"/>
            <a:ext cx="3345700" cy="3432175"/>
          </a:xfrm>
          <a:solidFill>
            <a:schemeClr val="accent2"/>
          </a:solidFill>
        </p:spPr>
        <p:txBody>
          <a:bodyPr anchor="ctr"/>
          <a:lstStyle>
            <a:lvl1pPr algn="ctr">
              <a:defRPr sz="2000" b="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cxnSp>
        <p:nvCxnSpPr>
          <p:cNvPr id="3" name="Gerade Verbindung 2">
            <a:extLst>
              <a:ext uri="{FF2B5EF4-FFF2-40B4-BE49-F238E27FC236}">
                <a16:creationId xmlns:a16="http://schemas.microsoft.com/office/drawing/2014/main" id="{EC3C38D3-F2CD-F847-854A-F18BC84ED701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8846300" y="3424319"/>
            <a:ext cx="3345700" cy="9362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platzhalter 4">
            <a:extLst>
              <a:ext uri="{FF2B5EF4-FFF2-40B4-BE49-F238E27FC236}">
                <a16:creationId xmlns:a16="http://schemas.microsoft.com/office/drawing/2014/main" id="{6A6F16D8-28EB-46C9-B487-E4B81E4E7EC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5938" y="831428"/>
            <a:ext cx="7822992" cy="381146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 dirty="0"/>
              <a:t>Untertitel bearbeiten I Edit </a:t>
            </a:r>
            <a:r>
              <a:rPr lang="de-DE" dirty="0" err="1"/>
              <a:t>subtitles</a:t>
            </a:r>
            <a:endParaRPr lang="de-DE" dirty="0"/>
          </a:p>
        </p:txBody>
      </p:sp>
      <p:sp>
        <p:nvSpPr>
          <p:cNvPr id="23" name="Textplatzhalter 2">
            <a:extLst>
              <a:ext uri="{FF2B5EF4-FFF2-40B4-BE49-F238E27FC236}">
                <a16:creationId xmlns:a16="http://schemas.microsoft.com/office/drawing/2014/main" id="{09652BC6-649B-407D-AAAC-6AD6B0C85748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514540" y="1473639"/>
            <a:ext cx="7822992" cy="461325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4" name="Textplatzhalter 2">
            <a:extLst>
              <a:ext uri="{FF2B5EF4-FFF2-40B4-BE49-F238E27FC236}">
                <a16:creationId xmlns:a16="http://schemas.microsoft.com/office/drawing/2014/main" id="{C0DA878B-BA4F-46E0-B9EB-334B81905DE1}"/>
              </a:ext>
            </a:extLst>
          </p:cNvPr>
          <p:cNvSpPr>
            <a:spLocks noGrp="1"/>
          </p:cNvSpPr>
          <p:nvPr>
            <p:ph type="body" idx="11"/>
          </p:nvPr>
        </p:nvSpPr>
        <p:spPr>
          <a:xfrm>
            <a:off x="514540" y="3747051"/>
            <a:ext cx="7822992" cy="461325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11C3680E-2986-4889-A89A-327082B407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4539" y="2115232"/>
            <a:ext cx="7822992" cy="13137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357188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536575" indent="-179388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20BCBEA8-0FA1-4BA6-9ADE-332849CF2BC2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2303" y="4394546"/>
            <a:ext cx="7822992" cy="13137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357188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536575" indent="-179388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25" name="Foliennummernplatzhalter 5">
            <a:extLst>
              <a:ext uri="{FF2B5EF4-FFF2-40B4-BE49-F238E27FC236}">
                <a16:creationId xmlns:a16="http://schemas.microsoft.com/office/drawing/2014/main" id="{8EBD6288-B15B-4572-9A5F-05C670A36F2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Nr.›</a:t>
            </a:fld>
            <a:r>
              <a:rPr lang="de-DE" dirty="0">
                <a:solidFill>
                  <a:schemeClr val="accent1"/>
                </a:solidFill>
              </a:rPr>
              <a:t>  </a:t>
            </a:r>
            <a:r>
              <a:rPr lang="de-DE" b="0" dirty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27" name="Fußzeilenplatzhalter 3">
            <a:extLst>
              <a:ext uri="{FF2B5EF4-FFF2-40B4-BE49-F238E27FC236}">
                <a16:creationId xmlns:a16="http://schemas.microsoft.com/office/drawing/2014/main" id="{17BDAA63-A3E9-486A-A4D9-574AD5E811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DE"/>
              <a:t>Jeanette Thumm Update Empower</a:t>
            </a:r>
            <a:endParaRPr lang="de-DE" dirty="0"/>
          </a:p>
        </p:txBody>
      </p:sp>
      <p:sp>
        <p:nvSpPr>
          <p:cNvPr id="30" name="Datumsplatzhalter 8">
            <a:extLst>
              <a:ext uri="{FF2B5EF4-FFF2-40B4-BE49-F238E27FC236}">
                <a16:creationId xmlns:a16="http://schemas.microsoft.com/office/drawing/2014/main" id="{C0CE7711-FF4D-497C-9C41-C566C9E2F32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AB19A4FC-76FE-4B52-A6BC-C4A9405F94A9}" type="datetime1">
              <a:rPr lang="de-DE"/>
              <a:pPr/>
              <a:t>21.04.2023</a:t>
            </a:fld>
            <a:endParaRPr lang="de-DE" dirty="0"/>
          </a:p>
        </p:txBody>
      </p:sp>
      <p:sp>
        <p:nvSpPr>
          <p:cNvPr id="16" name="Titel 1">
            <a:extLst>
              <a:ext uri="{FF2B5EF4-FFF2-40B4-BE49-F238E27FC236}">
                <a16:creationId xmlns:a16="http://schemas.microsoft.com/office/drawing/2014/main" id="{6C8BAD16-C6D0-4B88-BA37-4527FC9F77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340233"/>
            <a:ext cx="7839357" cy="482195"/>
          </a:xfrm>
        </p:spPr>
        <p:txBody>
          <a:bodyPr vert="horz"/>
          <a:lstStyle>
            <a:lvl1pPr>
              <a:defRPr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Überschrift I Headline</a:t>
            </a:r>
          </a:p>
        </p:txBody>
      </p:sp>
    </p:spTree>
    <p:extLst>
      <p:ext uri="{BB962C8B-B14F-4D97-AF65-F5344CB8AC3E}">
        <p14:creationId xmlns:p14="http://schemas.microsoft.com/office/powerpoint/2010/main" val="3834315896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orient="horz" pos="191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creen Bild/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B9BE4D5E-F223-472F-BA01-3258DA8E36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448463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6" progId="TCLayout.ActiveDocument.1">
                  <p:embed/>
                </p:oleObj>
              </mc:Choice>
              <mc:Fallback>
                <p:oleObj name="think-cell Folie" r:id="rId3" imgW="347" imgH="34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B9BE4D5E-F223-472F-BA01-3258DA8E36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Medienplatzhalter 2">
            <a:extLst>
              <a:ext uri="{FF2B5EF4-FFF2-40B4-BE49-F238E27FC236}">
                <a16:creationId xmlns:a16="http://schemas.microsoft.com/office/drawing/2014/main" id="{506B0D5E-872C-4EA2-9517-8AA1A6A217FA}"/>
              </a:ext>
            </a:extLst>
          </p:cNvPr>
          <p:cNvSpPr>
            <a:spLocks noGrp="1"/>
          </p:cNvSpPr>
          <p:nvPr>
            <p:ph type="media" sz="quarter" idx="10"/>
          </p:nvPr>
        </p:nvSpPr>
        <p:spPr>
          <a:xfrm>
            <a:off x="0" y="0"/>
            <a:ext cx="12192000" cy="6858000"/>
          </a:xfrm>
          <a:solidFill>
            <a:schemeClr val="accent2"/>
          </a:solidFill>
        </p:spPr>
        <p:txBody>
          <a:bodyPr anchor="ctr"/>
          <a:lstStyle>
            <a:lvl1pPr algn="ctr">
              <a:defRPr sz="20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de-DE"/>
              <a:t>Mediaclip durch Klicken auf Symbol hinzufügen</a:t>
            </a:r>
            <a:endParaRPr lang="de-DE" dirty="0"/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FFF51EE3-7AB7-4A96-B157-AE67A6C56C5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Nr.›</a:t>
            </a:fld>
            <a:r>
              <a:rPr lang="de-DE" dirty="0">
                <a:solidFill>
                  <a:schemeClr val="accent1"/>
                </a:solidFill>
              </a:rPr>
              <a:t>  </a:t>
            </a:r>
            <a:r>
              <a:rPr lang="de-DE" b="0" dirty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10" name="Fußzeilenplatzhalter 3">
            <a:extLst>
              <a:ext uri="{FF2B5EF4-FFF2-40B4-BE49-F238E27FC236}">
                <a16:creationId xmlns:a16="http://schemas.microsoft.com/office/drawing/2014/main" id="{7AA6E59F-80B7-44AD-B609-F98ED1E92B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DE"/>
              <a:t>Jeanette Thumm Update Empower</a:t>
            </a:r>
            <a:endParaRPr lang="de-DE" dirty="0"/>
          </a:p>
        </p:txBody>
      </p:sp>
      <p:sp>
        <p:nvSpPr>
          <p:cNvPr id="11" name="Datumsplatzhalter 8">
            <a:extLst>
              <a:ext uri="{FF2B5EF4-FFF2-40B4-BE49-F238E27FC236}">
                <a16:creationId xmlns:a16="http://schemas.microsoft.com/office/drawing/2014/main" id="{26B7E0A8-0331-4C6B-93D9-01894FF354A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AB19A4FC-76FE-4B52-A6BC-C4A9405F94A9}" type="datetime1">
              <a:rPr lang="de-DE"/>
              <a:pPr/>
              <a:t>21.04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10749060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4520">
          <p15:clr>
            <a:srgbClr val="FBAE40"/>
          </p15:clr>
        </p15:guide>
        <p15:guide id="2" orient="horz" pos="1911">
          <p15:clr>
            <a:srgbClr val="FBAE40"/>
          </p15:clr>
        </p15:guide>
        <p15:guide id="3" pos="7197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6 Bilder ohn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7F6FE709-603B-4CE3-A6FE-984E2796F56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998522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12" name="Objekt 11" hidden="1">
                        <a:extLst>
                          <a:ext uri="{FF2B5EF4-FFF2-40B4-BE49-F238E27FC236}">
                            <a16:creationId xmlns:a16="http://schemas.microsoft.com/office/drawing/2014/main" id="{7F6FE709-603B-4CE3-A6FE-984E2796F5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Bildplatzhalter 5"/>
          <p:cNvSpPr>
            <a:spLocks noGrp="1"/>
          </p:cNvSpPr>
          <p:nvPr>
            <p:ph type="pic" sz="quarter" idx="16" hasCustomPrompt="1"/>
          </p:nvPr>
        </p:nvSpPr>
        <p:spPr>
          <a:xfrm>
            <a:off x="-1" y="-2"/>
            <a:ext cx="4057200" cy="3430800"/>
          </a:xfrm>
          <a:solidFill>
            <a:schemeClr val="accent2"/>
          </a:solidFill>
        </p:spPr>
        <p:txBody>
          <a:bodyPr anchor="ctr"/>
          <a:lstStyle>
            <a:lvl1pPr algn="ctr">
              <a:defRPr sz="20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de-DE" dirty="0"/>
              <a:t>Bild hinzufügen I Add a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14" name="Bildplatzhalter 5"/>
          <p:cNvSpPr>
            <a:spLocks noGrp="1"/>
          </p:cNvSpPr>
          <p:nvPr>
            <p:ph type="pic" sz="quarter" idx="17" hasCustomPrompt="1"/>
          </p:nvPr>
        </p:nvSpPr>
        <p:spPr>
          <a:xfrm>
            <a:off x="-2" y="3429001"/>
            <a:ext cx="4057200" cy="3429000"/>
          </a:xfrm>
          <a:solidFill>
            <a:schemeClr val="accent2"/>
          </a:solidFill>
        </p:spPr>
        <p:txBody>
          <a:bodyPr anchor="ctr"/>
          <a:lstStyle>
            <a:lvl1pPr algn="ctr">
              <a:defRPr sz="20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Add a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8" name="Bildplatzhalter 5"/>
          <p:cNvSpPr>
            <a:spLocks noGrp="1"/>
          </p:cNvSpPr>
          <p:nvPr>
            <p:ph type="pic" sz="quarter" idx="18" hasCustomPrompt="1"/>
          </p:nvPr>
        </p:nvSpPr>
        <p:spPr>
          <a:xfrm>
            <a:off x="4067246" y="0"/>
            <a:ext cx="4057200" cy="3430800"/>
          </a:xfrm>
          <a:solidFill>
            <a:schemeClr val="accent2"/>
          </a:solidFill>
        </p:spPr>
        <p:txBody>
          <a:bodyPr anchor="ctr"/>
          <a:lstStyle>
            <a:lvl1pPr algn="ctr">
              <a:defRPr sz="20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Add a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9" name="Bildplatzhalter 5"/>
          <p:cNvSpPr>
            <a:spLocks noGrp="1"/>
          </p:cNvSpPr>
          <p:nvPr>
            <p:ph type="pic" sz="quarter" idx="19" hasCustomPrompt="1"/>
          </p:nvPr>
        </p:nvSpPr>
        <p:spPr>
          <a:xfrm>
            <a:off x="4067246" y="3429001"/>
            <a:ext cx="4057200" cy="3430800"/>
          </a:xfrm>
          <a:solidFill>
            <a:schemeClr val="accent2"/>
          </a:solidFill>
        </p:spPr>
        <p:txBody>
          <a:bodyPr anchor="ctr"/>
          <a:lstStyle>
            <a:lvl1pPr algn="ctr">
              <a:defRPr sz="20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Add a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10" name="Bildplatzhalter 5"/>
          <p:cNvSpPr>
            <a:spLocks noGrp="1"/>
          </p:cNvSpPr>
          <p:nvPr>
            <p:ph type="pic" sz="quarter" idx="20" hasCustomPrompt="1"/>
          </p:nvPr>
        </p:nvSpPr>
        <p:spPr>
          <a:xfrm>
            <a:off x="8134803" y="-2"/>
            <a:ext cx="4060800" cy="3430800"/>
          </a:xfrm>
          <a:solidFill>
            <a:schemeClr val="accent2"/>
          </a:solidFill>
        </p:spPr>
        <p:txBody>
          <a:bodyPr anchor="ctr"/>
          <a:lstStyle>
            <a:lvl1pPr algn="ctr">
              <a:defRPr sz="20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Add a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11" name="Bildplatzhalter 5"/>
          <p:cNvSpPr>
            <a:spLocks noGrp="1"/>
          </p:cNvSpPr>
          <p:nvPr>
            <p:ph type="pic" sz="quarter" idx="21" hasCustomPrompt="1"/>
          </p:nvPr>
        </p:nvSpPr>
        <p:spPr>
          <a:xfrm>
            <a:off x="8134803" y="3429001"/>
            <a:ext cx="4060800" cy="3430800"/>
          </a:xfrm>
          <a:solidFill>
            <a:schemeClr val="accent2"/>
          </a:solidFill>
        </p:spPr>
        <p:txBody>
          <a:bodyPr anchor="ctr"/>
          <a:lstStyle>
            <a:lvl1pPr algn="ctr">
              <a:defRPr sz="20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Add a </a:t>
            </a:r>
            <a:r>
              <a:rPr lang="de-DE" dirty="0" err="1"/>
              <a:t>picture</a:t>
            </a:r>
            <a:endParaRPr lang="de-DE" dirty="0"/>
          </a:p>
        </p:txBody>
      </p:sp>
      <p:cxnSp>
        <p:nvCxnSpPr>
          <p:cNvPr id="15" name="Gerade Verbindung 14">
            <a:extLst>
              <a:ext uri="{FF2B5EF4-FFF2-40B4-BE49-F238E27FC236}">
                <a16:creationId xmlns:a16="http://schemas.microsoft.com/office/drawing/2014/main" id="{DD3CFE7B-39B7-784F-93B1-D96A90A143C8}"/>
              </a:ext>
            </a:extLst>
          </p:cNvPr>
          <p:cNvCxnSpPr>
            <a:cxnSpLocks/>
          </p:cNvCxnSpPr>
          <p:nvPr userDrawn="1"/>
        </p:nvCxnSpPr>
        <p:spPr>
          <a:xfrm flipH="1">
            <a:off x="-14138" y="3429000"/>
            <a:ext cx="1220613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>
            <a:extLst>
              <a:ext uri="{FF2B5EF4-FFF2-40B4-BE49-F238E27FC236}">
                <a16:creationId xmlns:a16="http://schemas.microsoft.com/office/drawing/2014/main" id="{E5C11C02-B1D3-FF4F-92AA-ABFA7ADE13F8}"/>
              </a:ext>
            </a:extLst>
          </p:cNvPr>
          <p:cNvCxnSpPr>
            <a:cxnSpLocks/>
          </p:cNvCxnSpPr>
          <p:nvPr userDrawn="1"/>
        </p:nvCxnSpPr>
        <p:spPr>
          <a:xfrm flipV="1">
            <a:off x="8134803" y="-2"/>
            <a:ext cx="0" cy="685800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>
            <a:extLst>
              <a:ext uri="{FF2B5EF4-FFF2-40B4-BE49-F238E27FC236}">
                <a16:creationId xmlns:a16="http://schemas.microsoft.com/office/drawing/2014/main" id="{3D9E472F-8ECD-F246-8378-10E784CFF565}"/>
              </a:ext>
            </a:extLst>
          </p:cNvPr>
          <p:cNvCxnSpPr>
            <a:cxnSpLocks/>
          </p:cNvCxnSpPr>
          <p:nvPr userDrawn="1"/>
        </p:nvCxnSpPr>
        <p:spPr>
          <a:xfrm flipV="1">
            <a:off x="4067246" y="-2"/>
            <a:ext cx="0" cy="685800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43527731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2083">
          <p15:clr>
            <a:srgbClr val="FBAE40"/>
          </p15:clr>
        </p15:guide>
        <p15:guide id="3" pos="5597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6 Bilder ohn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7F6FE709-603B-4CE3-A6FE-984E2796F56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12" name="Objekt 11" hidden="1">
                        <a:extLst>
                          <a:ext uri="{FF2B5EF4-FFF2-40B4-BE49-F238E27FC236}">
                            <a16:creationId xmlns:a16="http://schemas.microsoft.com/office/drawing/2014/main" id="{7F6FE709-603B-4CE3-A6FE-984E2796F5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Bildplatzhalter 5"/>
          <p:cNvSpPr>
            <a:spLocks noGrp="1"/>
          </p:cNvSpPr>
          <p:nvPr>
            <p:ph type="pic" sz="quarter" idx="16" hasCustomPrompt="1"/>
          </p:nvPr>
        </p:nvSpPr>
        <p:spPr>
          <a:xfrm>
            <a:off x="-1" y="-2"/>
            <a:ext cx="4057200" cy="3430800"/>
          </a:xfrm>
          <a:solidFill>
            <a:schemeClr val="accent2"/>
          </a:solidFill>
        </p:spPr>
        <p:txBody>
          <a:bodyPr anchor="ctr"/>
          <a:lstStyle>
            <a:lvl1pPr algn="ctr">
              <a:defRPr sz="20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de-DE" dirty="0"/>
              <a:t>Bild hinzufügen I Add a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14" name="Bildplatzhalter 5"/>
          <p:cNvSpPr>
            <a:spLocks noGrp="1"/>
          </p:cNvSpPr>
          <p:nvPr>
            <p:ph type="pic" sz="quarter" idx="17" hasCustomPrompt="1"/>
          </p:nvPr>
        </p:nvSpPr>
        <p:spPr>
          <a:xfrm>
            <a:off x="-2" y="3429001"/>
            <a:ext cx="4057200" cy="3429000"/>
          </a:xfrm>
          <a:solidFill>
            <a:schemeClr val="accent2"/>
          </a:solidFill>
        </p:spPr>
        <p:txBody>
          <a:bodyPr anchor="ctr"/>
          <a:lstStyle>
            <a:lvl1pPr algn="ctr">
              <a:defRPr sz="20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de-DE" dirty="0"/>
              <a:t>Bild hinzufügen I Add a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8" name="Bildplatzhalter 5"/>
          <p:cNvSpPr>
            <a:spLocks noGrp="1"/>
          </p:cNvSpPr>
          <p:nvPr>
            <p:ph type="pic" sz="quarter" idx="18" hasCustomPrompt="1"/>
          </p:nvPr>
        </p:nvSpPr>
        <p:spPr>
          <a:xfrm>
            <a:off x="4067246" y="0"/>
            <a:ext cx="4057200" cy="3430800"/>
          </a:xfrm>
          <a:solidFill>
            <a:schemeClr val="accent2"/>
          </a:solidFill>
        </p:spPr>
        <p:txBody>
          <a:bodyPr anchor="ctr"/>
          <a:lstStyle>
            <a:lvl1pPr algn="ctr">
              <a:defRPr sz="20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de-DE" dirty="0"/>
              <a:t>Bild hinzufügen I Add a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9" name="Bildplatzhalter 5"/>
          <p:cNvSpPr>
            <a:spLocks noGrp="1"/>
          </p:cNvSpPr>
          <p:nvPr>
            <p:ph type="pic" sz="quarter" idx="19" hasCustomPrompt="1"/>
          </p:nvPr>
        </p:nvSpPr>
        <p:spPr>
          <a:xfrm>
            <a:off x="4067246" y="3429001"/>
            <a:ext cx="4057200" cy="3430800"/>
          </a:xfrm>
          <a:solidFill>
            <a:schemeClr val="accent2"/>
          </a:solidFill>
        </p:spPr>
        <p:txBody>
          <a:bodyPr anchor="ctr"/>
          <a:lstStyle>
            <a:lvl1pPr algn="ctr">
              <a:defRPr sz="20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de-DE" dirty="0"/>
              <a:t>Bild hinzufügen I Add a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10" name="Bildplatzhalter 5"/>
          <p:cNvSpPr>
            <a:spLocks noGrp="1"/>
          </p:cNvSpPr>
          <p:nvPr>
            <p:ph type="pic" sz="quarter" idx="20" hasCustomPrompt="1"/>
          </p:nvPr>
        </p:nvSpPr>
        <p:spPr>
          <a:xfrm>
            <a:off x="8134803" y="-2"/>
            <a:ext cx="4060800" cy="3430800"/>
          </a:xfrm>
          <a:solidFill>
            <a:schemeClr val="accent2"/>
          </a:solidFill>
        </p:spPr>
        <p:txBody>
          <a:bodyPr anchor="ctr"/>
          <a:lstStyle>
            <a:lvl1pPr algn="ctr">
              <a:defRPr sz="20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de-DE" dirty="0"/>
              <a:t>Bild hinzufügen I Add a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11" name="Bildplatzhalter 5"/>
          <p:cNvSpPr>
            <a:spLocks noGrp="1"/>
          </p:cNvSpPr>
          <p:nvPr>
            <p:ph type="pic" sz="quarter" idx="21" hasCustomPrompt="1"/>
          </p:nvPr>
        </p:nvSpPr>
        <p:spPr>
          <a:xfrm>
            <a:off x="8134803" y="3429001"/>
            <a:ext cx="4060800" cy="3430800"/>
          </a:xfrm>
          <a:solidFill>
            <a:schemeClr val="accent2"/>
          </a:solidFill>
        </p:spPr>
        <p:txBody>
          <a:bodyPr anchor="ctr"/>
          <a:lstStyle>
            <a:lvl1pPr algn="ctr">
              <a:defRPr sz="20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de-DE" dirty="0"/>
              <a:t>Bild hinzufügen I Add a </a:t>
            </a:r>
            <a:r>
              <a:rPr lang="de-DE" dirty="0" err="1"/>
              <a:t>picture</a:t>
            </a:r>
            <a:endParaRPr lang="de-DE" dirty="0"/>
          </a:p>
        </p:txBody>
      </p:sp>
      <p:cxnSp>
        <p:nvCxnSpPr>
          <p:cNvPr id="15" name="Gerade Verbindung 14">
            <a:extLst>
              <a:ext uri="{FF2B5EF4-FFF2-40B4-BE49-F238E27FC236}">
                <a16:creationId xmlns:a16="http://schemas.microsoft.com/office/drawing/2014/main" id="{DD3CFE7B-39B7-784F-93B1-D96A90A143C8}"/>
              </a:ext>
            </a:extLst>
          </p:cNvPr>
          <p:cNvCxnSpPr>
            <a:cxnSpLocks/>
          </p:cNvCxnSpPr>
          <p:nvPr userDrawn="1"/>
        </p:nvCxnSpPr>
        <p:spPr>
          <a:xfrm flipH="1">
            <a:off x="-14138" y="3429000"/>
            <a:ext cx="1220613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>
            <a:extLst>
              <a:ext uri="{FF2B5EF4-FFF2-40B4-BE49-F238E27FC236}">
                <a16:creationId xmlns:a16="http://schemas.microsoft.com/office/drawing/2014/main" id="{E5C11C02-B1D3-FF4F-92AA-ABFA7ADE13F8}"/>
              </a:ext>
            </a:extLst>
          </p:cNvPr>
          <p:cNvCxnSpPr>
            <a:cxnSpLocks/>
          </p:cNvCxnSpPr>
          <p:nvPr userDrawn="1"/>
        </p:nvCxnSpPr>
        <p:spPr>
          <a:xfrm flipV="1">
            <a:off x="8134803" y="-2"/>
            <a:ext cx="0" cy="685800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>
            <a:extLst>
              <a:ext uri="{FF2B5EF4-FFF2-40B4-BE49-F238E27FC236}">
                <a16:creationId xmlns:a16="http://schemas.microsoft.com/office/drawing/2014/main" id="{3D9E472F-8ECD-F246-8378-10E784CFF565}"/>
              </a:ext>
            </a:extLst>
          </p:cNvPr>
          <p:cNvCxnSpPr>
            <a:cxnSpLocks/>
          </p:cNvCxnSpPr>
          <p:nvPr userDrawn="1"/>
        </p:nvCxnSpPr>
        <p:spPr>
          <a:xfrm flipV="1">
            <a:off x="4067246" y="-2"/>
            <a:ext cx="0" cy="685800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platzhalter 4">
            <a:extLst>
              <a:ext uri="{FF2B5EF4-FFF2-40B4-BE49-F238E27FC236}">
                <a16:creationId xmlns:a16="http://schemas.microsoft.com/office/drawing/2014/main" id="{D241B32C-34A2-A044-B688-9EB0C4C617A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" y="2731875"/>
            <a:ext cx="3054096" cy="387798"/>
          </a:xfrm>
          <a:solidFill>
            <a:schemeClr val="bg1"/>
          </a:solidFill>
        </p:spPr>
        <p:txBody>
          <a:bodyPr vert="horz" lIns="216000" tIns="0" rIns="0" bIns="0" rtlCol="0" anchor="ctr">
            <a:noAutofit/>
          </a:bodyPr>
          <a:lstStyle>
            <a:lvl1pPr>
              <a:defRPr lang="de-DE" sz="1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/>
              <a:t>Untertitel bearbeiten</a:t>
            </a:r>
          </a:p>
        </p:txBody>
      </p:sp>
      <p:sp>
        <p:nvSpPr>
          <p:cNvPr id="33" name="Textplatzhalter 4">
            <a:extLst>
              <a:ext uri="{FF2B5EF4-FFF2-40B4-BE49-F238E27FC236}">
                <a16:creationId xmlns:a16="http://schemas.microsoft.com/office/drawing/2014/main" id="{33EABACF-D5F6-B646-AF38-4CAEEFD9561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132133" y="2731875"/>
            <a:ext cx="3054096" cy="387798"/>
          </a:xfrm>
          <a:solidFill>
            <a:schemeClr val="bg1"/>
          </a:solidFill>
        </p:spPr>
        <p:txBody>
          <a:bodyPr vert="horz" lIns="216000" tIns="0" rIns="0" bIns="0" rtlCol="0" anchor="ctr">
            <a:noAutofit/>
          </a:bodyPr>
          <a:lstStyle>
            <a:lvl1pPr>
              <a:defRPr lang="de-DE" sz="1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/>
              <a:t>Untertitel bearbeiten</a:t>
            </a:r>
          </a:p>
        </p:txBody>
      </p:sp>
      <p:sp>
        <p:nvSpPr>
          <p:cNvPr id="34" name="Textplatzhalter 4">
            <a:extLst>
              <a:ext uri="{FF2B5EF4-FFF2-40B4-BE49-F238E27FC236}">
                <a16:creationId xmlns:a16="http://schemas.microsoft.com/office/drawing/2014/main" id="{F42FFF10-46D2-8046-B800-9186430A3D6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65564" y="2731875"/>
            <a:ext cx="3054096" cy="387798"/>
          </a:xfrm>
          <a:solidFill>
            <a:schemeClr val="bg1"/>
          </a:solidFill>
        </p:spPr>
        <p:txBody>
          <a:bodyPr vert="horz" lIns="216000" tIns="0" rIns="0" bIns="0" rtlCol="0" anchor="ctr">
            <a:noAutofit/>
          </a:bodyPr>
          <a:lstStyle>
            <a:lvl1pPr>
              <a:defRPr lang="de-DE" sz="1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/>
              <a:t>Untertitel bearbeiten</a:t>
            </a:r>
          </a:p>
        </p:txBody>
      </p:sp>
      <p:sp>
        <p:nvSpPr>
          <p:cNvPr id="38" name="Textplatzhalter 4">
            <a:extLst>
              <a:ext uri="{FF2B5EF4-FFF2-40B4-BE49-F238E27FC236}">
                <a16:creationId xmlns:a16="http://schemas.microsoft.com/office/drawing/2014/main" id="{E8BC3BF2-8149-EE42-AA13-589D9683600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" y="6178630"/>
            <a:ext cx="3054096" cy="387798"/>
          </a:xfrm>
          <a:solidFill>
            <a:schemeClr val="bg1"/>
          </a:solidFill>
        </p:spPr>
        <p:txBody>
          <a:bodyPr vert="horz" lIns="216000" tIns="0" rIns="0" bIns="0" rtlCol="0" anchor="ctr">
            <a:noAutofit/>
          </a:bodyPr>
          <a:lstStyle>
            <a:lvl1pPr>
              <a:defRPr lang="de-DE" sz="1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/>
              <a:t>Untertitel bearbeiten</a:t>
            </a:r>
          </a:p>
        </p:txBody>
      </p:sp>
      <p:sp>
        <p:nvSpPr>
          <p:cNvPr id="39" name="Textplatzhalter 4">
            <a:extLst>
              <a:ext uri="{FF2B5EF4-FFF2-40B4-BE49-F238E27FC236}">
                <a16:creationId xmlns:a16="http://schemas.microsoft.com/office/drawing/2014/main" id="{2377A126-62FA-3047-BF67-D55D86E836C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132133" y="6178630"/>
            <a:ext cx="3054096" cy="387798"/>
          </a:xfrm>
          <a:solidFill>
            <a:schemeClr val="bg1"/>
          </a:solidFill>
        </p:spPr>
        <p:txBody>
          <a:bodyPr vert="horz" lIns="216000" tIns="0" rIns="0" bIns="0" rtlCol="0" anchor="ctr">
            <a:noAutofit/>
          </a:bodyPr>
          <a:lstStyle>
            <a:lvl1pPr>
              <a:defRPr lang="de-DE" sz="1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/>
              <a:t>Untertitel bearbeiten</a:t>
            </a:r>
          </a:p>
        </p:txBody>
      </p:sp>
      <p:sp>
        <p:nvSpPr>
          <p:cNvPr id="40" name="Textplatzhalter 4">
            <a:extLst>
              <a:ext uri="{FF2B5EF4-FFF2-40B4-BE49-F238E27FC236}">
                <a16:creationId xmlns:a16="http://schemas.microsoft.com/office/drawing/2014/main" id="{526DC38D-5CB4-FF4A-A842-246B91AD218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065564" y="6178630"/>
            <a:ext cx="3054096" cy="387798"/>
          </a:xfrm>
          <a:solidFill>
            <a:schemeClr val="bg1"/>
          </a:solidFill>
        </p:spPr>
        <p:txBody>
          <a:bodyPr vert="horz" lIns="216000" tIns="0" rIns="0" bIns="0" rtlCol="0" anchor="ctr">
            <a:noAutofit/>
          </a:bodyPr>
          <a:lstStyle>
            <a:lvl1pPr>
              <a:defRPr lang="de-DE" sz="1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/>
              <a:t>Untertitel bearbeiten</a:t>
            </a:r>
          </a:p>
        </p:txBody>
      </p:sp>
    </p:spTree>
    <p:extLst>
      <p:ext uri="{BB962C8B-B14F-4D97-AF65-F5344CB8AC3E}">
        <p14:creationId xmlns:p14="http://schemas.microsoft.com/office/powerpoint/2010/main" val="1982761244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2083">
          <p15:clr>
            <a:srgbClr val="FBAE40"/>
          </p15:clr>
        </p15:guide>
        <p15:guide id="3" pos="5597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hboard - 2 Kachel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98AEEC6A-1A12-4575-9621-0258FD0661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172872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98AEEC6A-1A12-4575-9621-0258FD0661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E2D1987D-14E9-3542-B512-DBDE43D895DF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1338362" y="4106636"/>
            <a:ext cx="4296870" cy="1298844"/>
          </a:xfrm>
          <a:solidFill>
            <a:schemeClr val="tx2"/>
          </a:solidFill>
        </p:spPr>
        <p:txBody>
          <a:bodyPr lIns="108000" tIns="108000" rIns="108000" bIns="0" anchor="t"/>
          <a:lstStyle>
            <a:lvl1pPr marL="0" indent="0" algn="l">
              <a:lnSpc>
                <a:spcPct val="100000"/>
              </a:lnSpc>
              <a:buClr>
                <a:schemeClr val="bg1"/>
              </a:buClr>
              <a:buFont typeface="Wingdings" panose="05000000000000000000" pitchFamily="2" charset="2"/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4" name="Bildplatzhalter 5">
            <a:extLst>
              <a:ext uri="{FF2B5EF4-FFF2-40B4-BE49-F238E27FC236}">
                <a16:creationId xmlns:a16="http://schemas.microsoft.com/office/drawing/2014/main" id="{E3ACA5D7-A7AE-F84E-91A1-7CA07F24442A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338362" y="1624693"/>
            <a:ext cx="4296870" cy="2477970"/>
          </a:xfrm>
          <a:solidFill>
            <a:schemeClr val="accent2"/>
          </a:solidFill>
        </p:spPr>
        <p:txBody>
          <a:bodyPr anchor="ctr"/>
          <a:lstStyle>
            <a:lvl1pPr algn="ctr">
              <a:defRPr sz="20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E2B1A042-66BA-494C-B41C-4A04ABEE7555}"/>
              </a:ext>
            </a:extLst>
          </p:cNvPr>
          <p:cNvSpPr>
            <a:spLocks noGrp="1"/>
          </p:cNvSpPr>
          <p:nvPr>
            <p:ph type="body" idx="23"/>
          </p:nvPr>
        </p:nvSpPr>
        <p:spPr>
          <a:xfrm>
            <a:off x="6556766" y="4106636"/>
            <a:ext cx="4296870" cy="1298844"/>
          </a:xfrm>
          <a:solidFill>
            <a:schemeClr val="tx2"/>
          </a:solidFill>
        </p:spPr>
        <p:txBody>
          <a:bodyPr lIns="108000" tIns="108000" rIns="108000" bIns="0" anchor="t"/>
          <a:lstStyle>
            <a:lvl1pPr marL="0" indent="0" algn="l">
              <a:lnSpc>
                <a:spcPct val="100000"/>
              </a:lnSpc>
              <a:buClr>
                <a:schemeClr val="bg1"/>
              </a:buClr>
              <a:buFont typeface="Wingdings" panose="05000000000000000000" pitchFamily="2" charset="2"/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5" name="Bildplatzhalter 5">
            <a:extLst>
              <a:ext uri="{FF2B5EF4-FFF2-40B4-BE49-F238E27FC236}">
                <a16:creationId xmlns:a16="http://schemas.microsoft.com/office/drawing/2014/main" id="{C54ED8A5-7687-D045-93DD-E5A162FBBB53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556766" y="1624693"/>
            <a:ext cx="4296870" cy="2477970"/>
          </a:xfrm>
          <a:solidFill>
            <a:schemeClr val="accent2"/>
          </a:solidFill>
        </p:spPr>
        <p:txBody>
          <a:bodyPr anchor="ctr"/>
          <a:lstStyle>
            <a:lvl1pPr algn="ctr">
              <a:defRPr sz="20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7" name="Titel 1">
            <a:extLst>
              <a:ext uri="{FF2B5EF4-FFF2-40B4-BE49-F238E27FC236}">
                <a16:creationId xmlns:a16="http://schemas.microsoft.com/office/drawing/2014/main" id="{507E39A9-8B88-1745-921E-23DF5485CC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340234"/>
            <a:ext cx="11160125" cy="491194"/>
          </a:xfrm>
        </p:spPr>
        <p:txBody>
          <a:bodyPr vert="horz"/>
          <a:lstStyle>
            <a:lvl1pPr>
              <a:defRPr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Überschrift I Headline</a:t>
            </a:r>
          </a:p>
        </p:txBody>
      </p:sp>
      <p:sp>
        <p:nvSpPr>
          <p:cNvPr id="18" name="Textplatzhalter 4">
            <a:extLst>
              <a:ext uri="{FF2B5EF4-FFF2-40B4-BE49-F238E27FC236}">
                <a16:creationId xmlns:a16="http://schemas.microsoft.com/office/drawing/2014/main" id="{B2BA28F4-4398-0D4D-970A-0C25A0C837E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5938" y="831428"/>
            <a:ext cx="11160000" cy="387798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/>
              <a:t>Untertitel bearbeiten</a:t>
            </a:r>
          </a:p>
        </p:txBody>
      </p:sp>
      <p:sp>
        <p:nvSpPr>
          <p:cNvPr id="16" name="Foliennummernplatzhalter 5">
            <a:extLst>
              <a:ext uri="{FF2B5EF4-FFF2-40B4-BE49-F238E27FC236}">
                <a16:creationId xmlns:a16="http://schemas.microsoft.com/office/drawing/2014/main" id="{20783FE1-8488-4EE5-AEAB-B06C561DD0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Nr.›</a:t>
            </a:fld>
            <a:r>
              <a:rPr lang="de-DE" dirty="0">
                <a:solidFill>
                  <a:schemeClr val="accent1"/>
                </a:solidFill>
              </a:rPr>
              <a:t>  </a:t>
            </a:r>
            <a:r>
              <a:rPr lang="de-DE" b="0" dirty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19" name="Fußzeilenplatzhalter 3">
            <a:extLst>
              <a:ext uri="{FF2B5EF4-FFF2-40B4-BE49-F238E27FC236}">
                <a16:creationId xmlns:a16="http://schemas.microsoft.com/office/drawing/2014/main" id="{933653B3-65BD-4DD9-AF10-C6D17D12F82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DE"/>
              <a:t>Jeanette Thumm Update Empower</a:t>
            </a:r>
            <a:endParaRPr lang="de-DE" dirty="0"/>
          </a:p>
        </p:txBody>
      </p:sp>
      <p:sp>
        <p:nvSpPr>
          <p:cNvPr id="20" name="Datumsplatzhalter 8">
            <a:extLst>
              <a:ext uri="{FF2B5EF4-FFF2-40B4-BE49-F238E27FC236}">
                <a16:creationId xmlns:a16="http://schemas.microsoft.com/office/drawing/2014/main" id="{BDB00D74-2A43-4F79-930A-66504728E18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AB19A4FC-76FE-4B52-A6BC-C4A9405F94A9}" type="datetime1">
              <a:rPr lang="de-DE"/>
              <a:pPr/>
              <a:t>21.04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53307393"/>
      </p:ext>
    </p:extLst>
  </p:cSld>
  <p:clrMapOvr>
    <a:masterClrMapping/>
  </p:clrMapOvr>
  <p:hf sldNum="0"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I Titel Slid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1"/>
            <a:ext cx="12192000" cy="4537494"/>
          </a:xfrm>
          <a:solidFill>
            <a:schemeClr val="tx2"/>
          </a:solidFill>
        </p:spPr>
        <p:txBody>
          <a:bodyPr vert="horz" lIns="0" tIns="0" rIns="0" bIns="0" rtlCol="0" anchor="ctr">
            <a:noAutofit/>
          </a:bodyPr>
          <a:lstStyle>
            <a:lvl1pPr>
              <a:defRPr lang="en-US" sz="2000" b="0">
                <a:solidFill>
                  <a:schemeClr val="accent4"/>
                </a:solidFill>
                <a:latin typeface="+mn-lt"/>
              </a:defRPr>
            </a:lvl1pPr>
          </a:lstStyle>
          <a:p>
            <a:pPr lvl="0" algn="ctr"/>
            <a:r>
              <a:rPr lang="de-DE" dirty="0"/>
              <a:t>Bild durch Klicken auf Symbol hinzufügen I Add </a:t>
            </a:r>
            <a:r>
              <a:rPr lang="de-DE" dirty="0" err="1"/>
              <a:t>image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clicking</a:t>
            </a:r>
            <a:r>
              <a:rPr lang="de-DE" dirty="0"/>
              <a:t> </a:t>
            </a:r>
            <a:r>
              <a:rPr lang="de-DE" dirty="0" err="1"/>
              <a:t>icon</a:t>
            </a:r>
            <a:endParaRPr lang="en-US" dirty="0"/>
          </a:p>
          <a:p>
            <a:pPr lvl="0" algn="ctr"/>
            <a:endParaRPr lang="de-DE" dirty="0"/>
          </a:p>
        </p:txBody>
      </p:sp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525058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Untertitel 2">
            <a:extLst>
              <a:ext uri="{FF2B5EF4-FFF2-40B4-BE49-F238E27FC236}">
                <a16:creationId xmlns:a16="http://schemas.microsoft.com/office/drawing/2014/main" id="{1EFD6C72-2063-AD48-9727-C4AB16A6DE1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00038" y="4817980"/>
            <a:ext cx="8691562" cy="215444"/>
          </a:xfrm>
          <a:noFill/>
        </p:spPr>
        <p:txBody>
          <a:bodyPr wrap="square" lIns="216000" tIns="0" rIns="0" bIns="0" anchor="ctr">
            <a:spAutoFit/>
          </a:bodyPr>
          <a:lstStyle>
            <a:lvl1pPr marL="0" indent="0" algn="l">
              <a:buNone/>
              <a:defRPr lang="de-DE" sz="1400" b="0" kern="1200" dirty="0">
                <a:solidFill>
                  <a:srgbClr val="575756"/>
                </a:solidFill>
                <a:latin typeface="+mn-lt"/>
                <a:ea typeface="+mn-ea"/>
                <a:cs typeface="+mn-cs"/>
              </a:defRPr>
            </a:lvl1pPr>
            <a:lvl2pPr marL="457177" indent="0" algn="ctr">
              <a:buNone/>
              <a:defRPr sz="2000"/>
            </a:lvl2pPr>
            <a:lvl3pPr marL="914355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3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7" indent="0" algn="ctr">
              <a:buNone/>
              <a:defRPr sz="1600"/>
            </a:lvl9pPr>
          </a:lstStyle>
          <a:p>
            <a:r>
              <a:rPr lang="de-DE" dirty="0"/>
              <a:t>Dachzeile I </a:t>
            </a:r>
            <a:r>
              <a:rPr lang="de-DE" dirty="0" err="1"/>
              <a:t>O</a:t>
            </a:r>
            <a:r>
              <a:rPr lang="de-DE" b="0" i="0" dirty="0" err="1">
                <a:solidFill>
                  <a:srgbClr val="242424"/>
                </a:solidFill>
                <a:effectLst/>
                <a:latin typeface="-apple-system"/>
              </a:rPr>
              <a:t>verline</a:t>
            </a:r>
            <a:endParaRPr lang="de-DE" dirty="0"/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97AA3D91-2715-1245-B649-15816B60CB0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00038" y="5064345"/>
            <a:ext cx="8691562" cy="1064355"/>
          </a:xfrm>
          <a:noFill/>
          <a:effectLst/>
        </p:spPr>
        <p:txBody>
          <a:bodyPr vert="horz" lIns="198000" tIns="0" rIns="0" anchor="b" anchorCtr="0">
            <a:noAutofit/>
          </a:bodyPr>
          <a:lstStyle>
            <a:lvl1pPr marL="0"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3600" b="0" kern="1200" cap="none" baseline="0" dirty="0">
                <a:solidFill>
                  <a:schemeClr val="tx1"/>
                </a:solidFill>
                <a:latin typeface="+mn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Überschrift</a:t>
            </a:r>
            <a:br>
              <a:rPr lang="de-DE" dirty="0"/>
            </a:br>
            <a:r>
              <a:rPr lang="de-DE" dirty="0"/>
              <a:t>Headli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E31E8C8-7C50-4010-8FA8-5E3FC76DB094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300038" y="6391757"/>
            <a:ext cx="4782950" cy="215444"/>
          </a:xfrm>
        </p:spPr>
        <p:txBody>
          <a:bodyPr lIns="216000" tIns="0" rIns="0" bIns="0"/>
          <a:lstStyle>
            <a:lvl1pPr>
              <a:spcBef>
                <a:spcPts val="600"/>
              </a:spcBef>
              <a:spcAft>
                <a:spcPts val="600"/>
              </a:spcAft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Thomas Kieferle | Innovationswerkstatt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A1739012-BDAA-4348-838C-987BE3160AD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26151" y="5707580"/>
            <a:ext cx="3021965" cy="10175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5414482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4133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hboard - 3 Kachel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1B222B94-2502-4655-8062-5612DD24CE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096439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6" progId="TCLayout.ActiveDocument.1">
                  <p:embed/>
                </p:oleObj>
              </mc:Choice>
              <mc:Fallback>
                <p:oleObj name="think-cell Folie" r:id="rId3" imgW="347" imgH="34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1B222B94-2502-4655-8062-5612DD24CE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AFE3D90D-E36A-DF4D-B325-30BCB63A8392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4628102" y="3824355"/>
            <a:ext cx="2913132" cy="901393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0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9DD658D9-2A23-C34C-95EC-E99E330FF936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8156493" y="3824355"/>
            <a:ext cx="2913132" cy="901393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0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BEDDAD1E-B130-D34E-948B-3916F99DA932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1139977" y="3824355"/>
            <a:ext cx="2913132" cy="901393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0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3" name="Bildplatzhalter 5">
            <a:extLst>
              <a:ext uri="{FF2B5EF4-FFF2-40B4-BE49-F238E27FC236}">
                <a16:creationId xmlns:a16="http://schemas.microsoft.com/office/drawing/2014/main" id="{77670EE1-D200-8144-A1FC-1B1BAFD9A1BA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139977" y="2171808"/>
            <a:ext cx="2913131" cy="1652547"/>
          </a:xfrm>
          <a:solidFill>
            <a:schemeClr val="accent2"/>
          </a:solidFill>
        </p:spPr>
        <p:txBody>
          <a:bodyPr anchor="ctr"/>
          <a:lstStyle>
            <a:lvl1pPr algn="ctr">
              <a:defRPr sz="20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4" name="Bildplatzhalter 5">
            <a:extLst>
              <a:ext uri="{FF2B5EF4-FFF2-40B4-BE49-F238E27FC236}">
                <a16:creationId xmlns:a16="http://schemas.microsoft.com/office/drawing/2014/main" id="{18F34889-3830-004A-B62C-141AADFCE30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628102" y="2161178"/>
            <a:ext cx="2913130" cy="1663178"/>
          </a:xfrm>
          <a:solidFill>
            <a:schemeClr val="accent2"/>
          </a:solidFill>
        </p:spPr>
        <p:txBody>
          <a:bodyPr anchor="ctr"/>
          <a:lstStyle>
            <a:lvl1pPr algn="ctr">
              <a:defRPr sz="20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5" name="Bildplatzhalter 5">
            <a:extLst>
              <a:ext uri="{FF2B5EF4-FFF2-40B4-BE49-F238E27FC236}">
                <a16:creationId xmlns:a16="http://schemas.microsoft.com/office/drawing/2014/main" id="{5F105300-099C-0B47-91CC-29E9AFF39FDC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156493" y="2161178"/>
            <a:ext cx="2913134" cy="1663177"/>
          </a:xfrm>
          <a:solidFill>
            <a:schemeClr val="accent2"/>
          </a:solidFill>
        </p:spPr>
        <p:txBody>
          <a:bodyPr anchor="ctr"/>
          <a:lstStyle>
            <a:lvl1pPr algn="ctr">
              <a:defRPr sz="20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FB7CD102-46E1-614C-9351-4A6BFE3499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340234"/>
            <a:ext cx="11160125" cy="491194"/>
          </a:xfrm>
        </p:spPr>
        <p:txBody>
          <a:bodyPr vert="horz"/>
          <a:lstStyle>
            <a:lvl1pPr>
              <a:defRPr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Überschrift I Headline</a:t>
            </a:r>
          </a:p>
        </p:txBody>
      </p:sp>
      <p:sp>
        <p:nvSpPr>
          <p:cNvPr id="17" name="Textplatzhalter 4">
            <a:extLst>
              <a:ext uri="{FF2B5EF4-FFF2-40B4-BE49-F238E27FC236}">
                <a16:creationId xmlns:a16="http://schemas.microsoft.com/office/drawing/2014/main" id="{494DA24A-340E-6B4B-A043-B22194E91F0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5938" y="831428"/>
            <a:ext cx="11160000" cy="387798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 dirty="0"/>
              <a:t>Untertitel bearbeiten I Edit </a:t>
            </a:r>
            <a:r>
              <a:rPr lang="de-DE" dirty="0" err="1"/>
              <a:t>subtitles</a:t>
            </a:r>
            <a:endParaRPr lang="de-DE" dirty="0"/>
          </a:p>
        </p:txBody>
      </p:sp>
      <p:sp>
        <p:nvSpPr>
          <p:cNvPr id="20" name="Foliennummernplatzhalter 5">
            <a:extLst>
              <a:ext uri="{FF2B5EF4-FFF2-40B4-BE49-F238E27FC236}">
                <a16:creationId xmlns:a16="http://schemas.microsoft.com/office/drawing/2014/main" id="{A27814AD-6500-40EB-B3DE-8CA2CE42BC3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Nr.›</a:t>
            </a:fld>
            <a:r>
              <a:rPr lang="de-DE" dirty="0">
                <a:solidFill>
                  <a:schemeClr val="accent1"/>
                </a:solidFill>
              </a:rPr>
              <a:t>  </a:t>
            </a:r>
            <a:r>
              <a:rPr lang="de-DE" b="0" dirty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21" name="Fußzeilenplatzhalter 3">
            <a:extLst>
              <a:ext uri="{FF2B5EF4-FFF2-40B4-BE49-F238E27FC236}">
                <a16:creationId xmlns:a16="http://schemas.microsoft.com/office/drawing/2014/main" id="{825D8F5F-EEDA-4F89-8CE6-BF5848A8BCB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DE"/>
              <a:t>Jeanette Thumm Update Empower</a:t>
            </a:r>
            <a:endParaRPr lang="de-DE" dirty="0"/>
          </a:p>
        </p:txBody>
      </p:sp>
      <p:sp>
        <p:nvSpPr>
          <p:cNvPr id="28" name="Datumsplatzhalter 8">
            <a:extLst>
              <a:ext uri="{FF2B5EF4-FFF2-40B4-BE49-F238E27FC236}">
                <a16:creationId xmlns:a16="http://schemas.microsoft.com/office/drawing/2014/main" id="{D6AD6385-5541-41ED-B5E3-EA2E6D84A5F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AB19A4FC-76FE-4B52-A6BC-C4A9405F94A9}" type="datetime1">
              <a:rPr lang="de-DE"/>
              <a:pPr/>
              <a:t>21.04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44074079"/>
      </p:ext>
    </p:extLst>
  </p:cSld>
  <p:clrMapOvr>
    <a:masterClrMapping/>
  </p:clrMapOvr>
  <p:hf sldNum="0"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hboard - 6 Kachel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7FD375BA-197B-450B-A78B-15AF039CE7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549997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7FD375BA-197B-450B-A78B-15AF039CE7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extplatzhalter 2">
            <a:extLst>
              <a:ext uri="{FF2B5EF4-FFF2-40B4-BE49-F238E27FC236}">
                <a16:creationId xmlns:a16="http://schemas.microsoft.com/office/drawing/2014/main" id="{B82F67BF-BE40-D64B-ACE5-494B7E63E13E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3449591" y="1638415"/>
            <a:ext cx="2545721" cy="1282593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0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4" name="Textplatzhalter 2">
            <a:extLst>
              <a:ext uri="{FF2B5EF4-FFF2-40B4-BE49-F238E27FC236}">
                <a16:creationId xmlns:a16="http://schemas.microsoft.com/office/drawing/2014/main" id="{E5B6EB5C-F640-184A-9E24-4046A9902A9A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3449591" y="3092570"/>
            <a:ext cx="2545721" cy="1282593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0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6F17F3E8-05AA-C446-8B67-1E5A49390BC0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8220202" y="1638415"/>
            <a:ext cx="2545721" cy="1282593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0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922A922F-2C05-6746-97A3-05C812F68AC6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8220202" y="3092570"/>
            <a:ext cx="2545721" cy="1282593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0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2" name="Bildplatzhalter 5">
            <a:extLst>
              <a:ext uri="{FF2B5EF4-FFF2-40B4-BE49-F238E27FC236}">
                <a16:creationId xmlns:a16="http://schemas.microsoft.com/office/drawing/2014/main" id="{5F83A5CF-61BE-C94E-AAE3-98EFF67F54AE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187990" y="1638415"/>
            <a:ext cx="2032212" cy="1282593"/>
          </a:xfrm>
          <a:solidFill>
            <a:schemeClr val="accent2"/>
          </a:solidFill>
        </p:spPr>
        <p:txBody>
          <a:bodyPr anchor="ctr"/>
          <a:lstStyle>
            <a:lvl1pPr algn="ctr">
              <a:defRPr sz="20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4" name="Bildplatzhalter 5">
            <a:extLst>
              <a:ext uri="{FF2B5EF4-FFF2-40B4-BE49-F238E27FC236}">
                <a16:creationId xmlns:a16="http://schemas.microsoft.com/office/drawing/2014/main" id="{C3EF4B84-5EC6-5849-A958-4920C35667E8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187990" y="3092570"/>
            <a:ext cx="2032212" cy="1282593"/>
          </a:xfrm>
          <a:solidFill>
            <a:schemeClr val="accent2"/>
          </a:solidFill>
        </p:spPr>
        <p:txBody>
          <a:bodyPr anchor="ctr"/>
          <a:lstStyle>
            <a:lvl1pPr algn="ctr">
              <a:defRPr sz="20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6" name="Bildplatzhalter 5">
            <a:extLst>
              <a:ext uri="{FF2B5EF4-FFF2-40B4-BE49-F238E27FC236}">
                <a16:creationId xmlns:a16="http://schemas.microsoft.com/office/drawing/2014/main" id="{0B8E9C79-850C-6348-9C50-B033D2C1FCBC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417379" y="3092570"/>
            <a:ext cx="2032212" cy="1282593"/>
          </a:xfrm>
          <a:solidFill>
            <a:schemeClr val="accent2"/>
          </a:solidFill>
        </p:spPr>
        <p:txBody>
          <a:bodyPr anchor="ctr"/>
          <a:lstStyle>
            <a:lvl1pPr algn="ctr">
              <a:defRPr sz="20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1" name="Bildplatzhalter 5">
            <a:extLst>
              <a:ext uri="{FF2B5EF4-FFF2-40B4-BE49-F238E27FC236}">
                <a16:creationId xmlns:a16="http://schemas.microsoft.com/office/drawing/2014/main" id="{2634FB1A-C6B9-DB44-AAAE-7A946E340F45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417379" y="1638415"/>
            <a:ext cx="2032212" cy="1281600"/>
          </a:xfrm>
          <a:solidFill>
            <a:schemeClr val="accent2"/>
          </a:solidFill>
        </p:spPr>
        <p:txBody>
          <a:bodyPr anchor="ctr"/>
          <a:lstStyle>
            <a:lvl1pPr algn="ctr">
              <a:defRPr sz="20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2" name="Textplatzhalter 2">
            <a:extLst>
              <a:ext uri="{FF2B5EF4-FFF2-40B4-BE49-F238E27FC236}">
                <a16:creationId xmlns:a16="http://schemas.microsoft.com/office/drawing/2014/main" id="{7F7EFA98-450D-C244-99FB-D37E9696DBF5}"/>
              </a:ext>
            </a:extLst>
          </p:cNvPr>
          <p:cNvSpPr>
            <a:spLocks noGrp="1"/>
          </p:cNvSpPr>
          <p:nvPr>
            <p:ph type="body" idx="29"/>
          </p:nvPr>
        </p:nvSpPr>
        <p:spPr>
          <a:xfrm>
            <a:off x="3449591" y="4546727"/>
            <a:ext cx="2545721" cy="1282593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0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3" name="Textplatzhalter 2">
            <a:extLst>
              <a:ext uri="{FF2B5EF4-FFF2-40B4-BE49-F238E27FC236}">
                <a16:creationId xmlns:a16="http://schemas.microsoft.com/office/drawing/2014/main" id="{8AA877DA-B07F-D149-8120-35B0BC7FC088}"/>
              </a:ext>
            </a:extLst>
          </p:cNvPr>
          <p:cNvSpPr>
            <a:spLocks noGrp="1"/>
          </p:cNvSpPr>
          <p:nvPr>
            <p:ph type="body" idx="30"/>
          </p:nvPr>
        </p:nvSpPr>
        <p:spPr>
          <a:xfrm>
            <a:off x="8220202" y="4546727"/>
            <a:ext cx="2545721" cy="1282593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0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4" name="Bildplatzhalter 5">
            <a:extLst>
              <a:ext uri="{FF2B5EF4-FFF2-40B4-BE49-F238E27FC236}">
                <a16:creationId xmlns:a16="http://schemas.microsoft.com/office/drawing/2014/main" id="{C8E47CB9-0991-2C4E-B39B-894C789BCFEB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6187990" y="4546727"/>
            <a:ext cx="2032212" cy="1282593"/>
          </a:xfrm>
          <a:solidFill>
            <a:schemeClr val="accent2"/>
          </a:solidFill>
        </p:spPr>
        <p:txBody>
          <a:bodyPr anchor="ctr"/>
          <a:lstStyle>
            <a:lvl1pPr algn="ctr">
              <a:defRPr sz="20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5" name="Bildplatzhalter 5">
            <a:extLst>
              <a:ext uri="{FF2B5EF4-FFF2-40B4-BE49-F238E27FC236}">
                <a16:creationId xmlns:a16="http://schemas.microsoft.com/office/drawing/2014/main" id="{C682EDD5-0E6C-8042-AEF0-BC172E228741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1417379" y="4546727"/>
            <a:ext cx="2032212" cy="1282593"/>
          </a:xfrm>
          <a:solidFill>
            <a:schemeClr val="accent2"/>
          </a:solidFill>
        </p:spPr>
        <p:txBody>
          <a:bodyPr anchor="ctr"/>
          <a:lstStyle>
            <a:lvl1pPr algn="ctr">
              <a:defRPr sz="20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D7A2374B-7FB7-2142-A056-F13A4C51F0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340234"/>
            <a:ext cx="11180762" cy="491194"/>
          </a:xfrm>
        </p:spPr>
        <p:txBody>
          <a:bodyPr vert="horz"/>
          <a:lstStyle>
            <a:lvl1pPr>
              <a:defRPr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Überschrift I Headline</a:t>
            </a:r>
          </a:p>
        </p:txBody>
      </p:sp>
      <p:sp>
        <p:nvSpPr>
          <p:cNvPr id="25" name="Textplatzhalter 4">
            <a:extLst>
              <a:ext uri="{FF2B5EF4-FFF2-40B4-BE49-F238E27FC236}">
                <a16:creationId xmlns:a16="http://schemas.microsoft.com/office/drawing/2014/main" id="{995C2DE4-BA82-624C-B54A-6E673D295F04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15938" y="831428"/>
            <a:ext cx="11160000" cy="387798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 dirty="0"/>
              <a:t>Untertitel bearbeiten I Edit </a:t>
            </a:r>
            <a:r>
              <a:rPr lang="de-DE" dirty="0" err="1"/>
              <a:t>subtitles</a:t>
            </a:r>
            <a:endParaRPr lang="de-DE" dirty="0"/>
          </a:p>
        </p:txBody>
      </p:sp>
      <p:sp>
        <p:nvSpPr>
          <p:cNvPr id="29" name="Foliennummernplatzhalter 5">
            <a:extLst>
              <a:ext uri="{FF2B5EF4-FFF2-40B4-BE49-F238E27FC236}">
                <a16:creationId xmlns:a16="http://schemas.microsoft.com/office/drawing/2014/main" id="{B96E0D9B-C5D5-41D4-9A09-9984649B628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Nr.›</a:t>
            </a:fld>
            <a:r>
              <a:rPr lang="de-DE" dirty="0">
                <a:solidFill>
                  <a:schemeClr val="accent1"/>
                </a:solidFill>
              </a:rPr>
              <a:t>  </a:t>
            </a:r>
            <a:r>
              <a:rPr lang="de-DE" b="0" dirty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31" name="Fußzeilenplatzhalter 3">
            <a:extLst>
              <a:ext uri="{FF2B5EF4-FFF2-40B4-BE49-F238E27FC236}">
                <a16:creationId xmlns:a16="http://schemas.microsoft.com/office/drawing/2014/main" id="{98A57A3B-A8BB-46BE-952C-2FD7576C4DB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DE"/>
              <a:t>Jeanette Thumm Update Empower</a:t>
            </a:r>
            <a:endParaRPr lang="de-DE" dirty="0"/>
          </a:p>
        </p:txBody>
      </p:sp>
      <p:sp>
        <p:nvSpPr>
          <p:cNvPr id="33" name="Datumsplatzhalter 8">
            <a:extLst>
              <a:ext uri="{FF2B5EF4-FFF2-40B4-BE49-F238E27FC236}">
                <a16:creationId xmlns:a16="http://schemas.microsoft.com/office/drawing/2014/main" id="{398E2729-16E7-462C-A3B8-1BB6CA79AAD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AB19A4FC-76FE-4B52-A6BC-C4A9405F94A9}" type="datetime1">
              <a:rPr lang="de-DE"/>
              <a:pPr/>
              <a:t>21.04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89617788"/>
      </p:ext>
    </p:extLst>
  </p:cSld>
  <p:clrMapOvr>
    <a:masterClrMapping/>
  </p:clrMapOvr>
  <p:hf sldNum="0"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/ Bild mit Text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D270C4C5-5317-4919-8DB5-0485BE30CDC2}"/>
              </a:ext>
            </a:extLst>
          </p:cNvPr>
          <p:cNvSpPr/>
          <p:nvPr userDrawn="1"/>
        </p:nvSpPr>
        <p:spPr>
          <a:xfrm>
            <a:off x="10274300" y="6070600"/>
            <a:ext cx="1746463" cy="59215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dirty="0" err="1"/>
          </a:p>
        </p:txBody>
      </p:sp>
      <p:sp>
        <p:nvSpPr>
          <p:cNvPr id="14" name="Freihandform: Form 13">
            <a:extLst>
              <a:ext uri="{FF2B5EF4-FFF2-40B4-BE49-F238E27FC236}">
                <a16:creationId xmlns:a16="http://schemas.microsoft.com/office/drawing/2014/main" id="{0D8653A3-71E5-4997-B94D-F2FFDBEE6BE9}"/>
              </a:ext>
            </a:extLst>
          </p:cNvPr>
          <p:cNvSpPr/>
          <p:nvPr userDrawn="1"/>
        </p:nvSpPr>
        <p:spPr>
          <a:xfrm>
            <a:off x="10020300" y="1196975"/>
            <a:ext cx="2171700" cy="5661025"/>
          </a:xfrm>
          <a:custGeom>
            <a:avLst/>
            <a:gdLst>
              <a:gd name="connsiteX0" fmla="*/ 286809 w 2171700"/>
              <a:gd name="connsiteY0" fmla="*/ 4870854 h 5661025"/>
              <a:gd name="connsiteX1" fmla="*/ 286809 w 2171700"/>
              <a:gd name="connsiteY1" fmla="*/ 5447892 h 5661025"/>
              <a:gd name="connsiteX2" fmla="*/ 2000463 w 2171700"/>
              <a:gd name="connsiteY2" fmla="*/ 5447892 h 5661025"/>
              <a:gd name="connsiteX3" fmla="*/ 2000463 w 2171700"/>
              <a:gd name="connsiteY3" fmla="*/ 4870854 h 5661025"/>
              <a:gd name="connsiteX4" fmla="*/ 0 w 2171700"/>
              <a:gd name="connsiteY4" fmla="*/ 0 h 5661025"/>
              <a:gd name="connsiteX5" fmla="*/ 2171700 w 2171700"/>
              <a:gd name="connsiteY5" fmla="*/ 0 h 5661025"/>
              <a:gd name="connsiteX6" fmla="*/ 2171700 w 2171700"/>
              <a:gd name="connsiteY6" fmla="*/ 5661025 h 5661025"/>
              <a:gd name="connsiteX7" fmla="*/ 0 w 2171700"/>
              <a:gd name="connsiteY7" fmla="*/ 5661025 h 56610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171700" h="5661025">
                <a:moveTo>
                  <a:pt x="286809" y="4870854"/>
                </a:moveTo>
                <a:lnTo>
                  <a:pt x="286809" y="5447892"/>
                </a:lnTo>
                <a:lnTo>
                  <a:pt x="2000463" y="5447892"/>
                </a:lnTo>
                <a:lnTo>
                  <a:pt x="2000463" y="4870854"/>
                </a:lnTo>
                <a:close/>
                <a:moveTo>
                  <a:pt x="0" y="0"/>
                </a:moveTo>
                <a:lnTo>
                  <a:pt x="2171700" y="0"/>
                </a:lnTo>
                <a:lnTo>
                  <a:pt x="2171700" y="5661025"/>
                </a:lnTo>
                <a:lnTo>
                  <a:pt x="0" y="5661025"/>
                </a:lnTo>
                <a:close/>
              </a:path>
            </a:pathLst>
          </a:cu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>
              <a:latin typeface="+mj-lt"/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F5C21B50-9205-9E45-A51B-C7638C012CF6}"/>
              </a:ext>
            </a:extLst>
          </p:cNvPr>
          <p:cNvSpPr txBox="1"/>
          <p:nvPr userDrawn="1"/>
        </p:nvSpPr>
        <p:spPr>
          <a:xfrm>
            <a:off x="10144488" y="1482436"/>
            <a:ext cx="1876275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200">
                <a:latin typeface="+mj-lt"/>
                <a:cs typeface="Segoe UI" panose="020B0502040204020203" pitchFamily="34" charset="0"/>
              </a:rPr>
              <a:t>Text einfügen</a:t>
            </a:r>
          </a:p>
        </p:txBody>
      </p:sp>
      <p:sp>
        <p:nvSpPr>
          <p:cNvPr id="13" name="Inhaltsplatzhalter 5">
            <a:extLst>
              <a:ext uri="{FF2B5EF4-FFF2-40B4-BE49-F238E27FC236}">
                <a16:creationId xmlns:a16="http://schemas.microsoft.com/office/drawing/2014/main" id="{397EF706-7C9F-8F47-99F9-1F6571D0AE74}"/>
              </a:ext>
            </a:extLst>
          </p:cNvPr>
          <p:cNvSpPr txBox="1">
            <a:spLocks/>
          </p:cNvSpPr>
          <p:nvPr userDrawn="1"/>
        </p:nvSpPr>
        <p:spPr>
          <a:xfrm>
            <a:off x="0" y="1196974"/>
            <a:ext cx="10020300" cy="56610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000" b="0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5" name="Inhaltsplatzhalter 5">
            <a:extLst>
              <a:ext uri="{FF2B5EF4-FFF2-40B4-BE49-F238E27FC236}">
                <a16:creationId xmlns:a16="http://schemas.microsoft.com/office/drawing/2014/main" id="{F2400B66-29C2-FD4B-95E4-1236F408EEF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0" y="1196975"/>
            <a:ext cx="10020300" cy="5661025"/>
          </a:xfrm>
          <a:solidFill>
            <a:schemeClr val="accent2"/>
          </a:solidFill>
        </p:spPr>
        <p:txBody>
          <a:bodyPr anchor="ctr"/>
          <a:lstStyle>
            <a:lvl1pPr algn="ctr">
              <a:buFontTx/>
              <a:buNone/>
              <a:defRPr sz="2000" b="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9" name="Titel 1">
            <a:extLst>
              <a:ext uri="{FF2B5EF4-FFF2-40B4-BE49-F238E27FC236}">
                <a16:creationId xmlns:a16="http://schemas.microsoft.com/office/drawing/2014/main" id="{DA26AA71-8B6A-C840-BEF6-D2B61C9041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340234"/>
            <a:ext cx="11160125" cy="662611"/>
          </a:xfrm>
        </p:spPr>
        <p:txBody>
          <a:bodyPr vert="horz"/>
          <a:lstStyle>
            <a:lvl1pPr>
              <a:defRPr b="0">
                <a:latin typeface="+mn-lt"/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8BD1B383-FEFA-44B4-B800-D5FFD0DDC7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Nr.›</a:t>
            </a:fld>
            <a:r>
              <a:rPr lang="de-DE" dirty="0">
                <a:solidFill>
                  <a:schemeClr val="accent1"/>
                </a:solidFill>
              </a:rPr>
              <a:t>  </a:t>
            </a:r>
            <a:r>
              <a:rPr lang="de-DE" b="0" dirty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5F751BBC-031E-42A8-BA7F-DB4862A0866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07109" y="6067829"/>
            <a:ext cx="1713654" cy="5770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62040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312">
          <p15:clr>
            <a:srgbClr val="FBAE40"/>
          </p15:clr>
        </p15:guide>
        <p15:guide id="2" orient="horz" pos="754">
          <p15:clr>
            <a:srgbClr val="FBAE40"/>
          </p15:clr>
        </p15:guide>
        <p15:guide id="3" pos="7197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Text Bausteine +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1B222B94-2502-4655-8062-5612DD24CE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72941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6" progId="TCLayout.ActiveDocument.1">
                  <p:embed/>
                </p:oleObj>
              </mc:Choice>
              <mc:Fallback>
                <p:oleObj name="think-cell Folie" r:id="rId3" imgW="347" imgH="34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1B222B94-2502-4655-8062-5612DD24CE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" name="Textplatzhalter 2">
            <a:extLst>
              <a:ext uri="{FF2B5EF4-FFF2-40B4-BE49-F238E27FC236}">
                <a16:creationId xmlns:a16="http://schemas.microsoft.com/office/drawing/2014/main" id="{D607F26A-0D43-4441-932E-EA35304503E9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2149214" y="3149826"/>
            <a:ext cx="2117590" cy="2895045"/>
          </a:xfrm>
          <a:solidFill>
            <a:schemeClr val="accent3"/>
          </a:solidFill>
        </p:spPr>
        <p:txBody>
          <a:bodyPr lIns="108000" tIns="108000" rIns="108000" bIns="0" anchor="t"/>
          <a:lstStyle>
            <a:lvl1pPr marL="85725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4" name="Textplatzhalter 2">
            <a:extLst>
              <a:ext uri="{FF2B5EF4-FFF2-40B4-BE49-F238E27FC236}">
                <a16:creationId xmlns:a16="http://schemas.microsoft.com/office/drawing/2014/main" id="{0294D4CF-D366-5D43-AACC-3E4C1423EC39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5017206" y="3149826"/>
            <a:ext cx="2117590" cy="2895045"/>
          </a:xfrm>
          <a:solidFill>
            <a:schemeClr val="accent3"/>
          </a:solidFill>
        </p:spPr>
        <p:txBody>
          <a:bodyPr lIns="108000" tIns="108000" rIns="108000" bIns="0" anchor="t"/>
          <a:lstStyle>
            <a:lvl1pPr marL="85725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472B9EA2-21CB-4DDA-A24D-1EA0D4704954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7935482" y="3149826"/>
            <a:ext cx="2117590" cy="2895045"/>
          </a:xfrm>
          <a:solidFill>
            <a:schemeClr val="accent3"/>
          </a:solidFill>
        </p:spPr>
        <p:txBody>
          <a:bodyPr lIns="108000" tIns="108000" rIns="108000" bIns="0" anchor="t"/>
          <a:lstStyle>
            <a:lvl1pPr marL="85725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0" name="Bildplatzhalter 5">
            <a:extLst>
              <a:ext uri="{FF2B5EF4-FFF2-40B4-BE49-F238E27FC236}">
                <a16:creationId xmlns:a16="http://schemas.microsoft.com/office/drawing/2014/main" id="{96513A13-432C-4044-9AD4-9E9F449A696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2149214" y="1549734"/>
            <a:ext cx="2117590" cy="1600093"/>
          </a:xfrm>
          <a:solidFill>
            <a:schemeClr val="accent2"/>
          </a:solidFill>
        </p:spPr>
        <p:txBody>
          <a:bodyPr anchor="ctr"/>
          <a:lstStyle>
            <a:lvl1pPr algn="ctr">
              <a:defRPr sz="200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5" name="Bildplatzhalter 5">
            <a:extLst>
              <a:ext uri="{FF2B5EF4-FFF2-40B4-BE49-F238E27FC236}">
                <a16:creationId xmlns:a16="http://schemas.microsoft.com/office/drawing/2014/main" id="{48AE97E9-DA3B-4912-9CB9-8A97F0412C76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017205" y="1549734"/>
            <a:ext cx="2116800" cy="1600093"/>
          </a:xfrm>
          <a:solidFill>
            <a:schemeClr val="accent2"/>
          </a:solidFill>
        </p:spPr>
        <p:txBody>
          <a:bodyPr anchor="ctr"/>
          <a:lstStyle>
            <a:lvl1pPr algn="ctr">
              <a:defRPr sz="200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6" name="Bildplatzhalter 5">
            <a:extLst>
              <a:ext uri="{FF2B5EF4-FFF2-40B4-BE49-F238E27FC236}">
                <a16:creationId xmlns:a16="http://schemas.microsoft.com/office/drawing/2014/main" id="{AC84D9D4-CD28-458A-A689-780288422DFB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7935481" y="1549734"/>
            <a:ext cx="2116800" cy="1600093"/>
          </a:xfrm>
          <a:solidFill>
            <a:schemeClr val="accent2"/>
          </a:solidFill>
        </p:spPr>
        <p:txBody>
          <a:bodyPr anchor="ctr"/>
          <a:lstStyle>
            <a:lvl1pPr algn="ctr">
              <a:defRPr sz="200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3" name="Titel 1">
            <a:extLst>
              <a:ext uri="{FF2B5EF4-FFF2-40B4-BE49-F238E27FC236}">
                <a16:creationId xmlns:a16="http://schemas.microsoft.com/office/drawing/2014/main" id="{B851EED9-359C-3848-8B94-78B3619272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340234"/>
            <a:ext cx="11160125" cy="485266"/>
          </a:xfrm>
        </p:spPr>
        <p:txBody>
          <a:bodyPr vert="horz"/>
          <a:lstStyle>
            <a:lvl1pPr>
              <a:defRPr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Überschrift I Headline</a:t>
            </a:r>
          </a:p>
        </p:txBody>
      </p:sp>
      <p:sp>
        <p:nvSpPr>
          <p:cNvPr id="17" name="Textplatzhalter 4">
            <a:extLst>
              <a:ext uri="{FF2B5EF4-FFF2-40B4-BE49-F238E27FC236}">
                <a16:creationId xmlns:a16="http://schemas.microsoft.com/office/drawing/2014/main" id="{7F3040F8-124D-5044-9ED1-C021C7D659F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5938" y="831428"/>
            <a:ext cx="11160000" cy="387798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 u="none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 dirty="0"/>
              <a:t>Untertitel bearbeiten I Edit </a:t>
            </a:r>
            <a:r>
              <a:rPr lang="de-DE" dirty="0" err="1"/>
              <a:t>subtitles</a:t>
            </a:r>
            <a:endParaRPr lang="de-DE" dirty="0"/>
          </a:p>
        </p:txBody>
      </p:sp>
      <p:sp>
        <p:nvSpPr>
          <p:cNvPr id="19" name="Foliennummernplatzhalter 5">
            <a:extLst>
              <a:ext uri="{FF2B5EF4-FFF2-40B4-BE49-F238E27FC236}">
                <a16:creationId xmlns:a16="http://schemas.microsoft.com/office/drawing/2014/main" id="{9931CBE2-2FE1-491E-AC84-D55CA59223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Nr.›</a:t>
            </a:fld>
            <a:r>
              <a:rPr lang="de-DE" dirty="0">
                <a:solidFill>
                  <a:schemeClr val="accent1"/>
                </a:solidFill>
              </a:rPr>
              <a:t>  </a:t>
            </a:r>
            <a:r>
              <a:rPr lang="de-DE" b="0" dirty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21" name="Fußzeilenplatzhalter 3">
            <a:extLst>
              <a:ext uri="{FF2B5EF4-FFF2-40B4-BE49-F238E27FC236}">
                <a16:creationId xmlns:a16="http://schemas.microsoft.com/office/drawing/2014/main" id="{B4715C78-1E85-4FBB-AC77-34FAE2F9CA3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DE"/>
              <a:t>Jeanette Thumm Update Empower</a:t>
            </a:r>
            <a:endParaRPr lang="de-DE" dirty="0"/>
          </a:p>
        </p:txBody>
      </p:sp>
      <p:sp>
        <p:nvSpPr>
          <p:cNvPr id="22" name="Datumsplatzhalter 8">
            <a:extLst>
              <a:ext uri="{FF2B5EF4-FFF2-40B4-BE49-F238E27FC236}">
                <a16:creationId xmlns:a16="http://schemas.microsoft.com/office/drawing/2014/main" id="{5192275F-0C0C-43FC-AACC-33731E9ADD4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AB19A4FC-76FE-4B52-A6BC-C4A9405F94A9}" type="datetime1">
              <a:rPr lang="de-DE"/>
              <a:pPr/>
              <a:t>21.04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02438737"/>
      </p:ext>
    </p:extLst>
  </p:cSld>
  <p:clrMapOvr>
    <a:masterClrMapping/>
  </p:clrMapOvr>
  <p:hf sldNum="0"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 Bausteine +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1B222B94-2502-4655-8062-5612DD24CE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72941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6" progId="TCLayout.ActiveDocument.1">
                  <p:embed/>
                </p:oleObj>
              </mc:Choice>
              <mc:Fallback>
                <p:oleObj name="think-cell Folie" r:id="rId3" imgW="347" imgH="34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1B222B94-2502-4655-8062-5612DD24CE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9BC1A026-3D72-C64B-8BD9-EAAABF221770}"/>
              </a:ext>
            </a:extLst>
          </p:cNvPr>
          <p:cNvSpPr>
            <a:spLocks noGrp="1"/>
          </p:cNvSpPr>
          <p:nvPr>
            <p:ph type="body" idx="26"/>
          </p:nvPr>
        </p:nvSpPr>
        <p:spPr>
          <a:xfrm>
            <a:off x="1349385" y="3162299"/>
            <a:ext cx="2117590" cy="2895045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85725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974EFC2-132E-924F-8F1D-B919A8B0DFA8}"/>
              </a:ext>
            </a:extLst>
          </p:cNvPr>
          <p:cNvSpPr>
            <a:spLocks noGrp="1"/>
          </p:cNvSpPr>
          <p:nvPr>
            <p:ph type="body" idx="27"/>
          </p:nvPr>
        </p:nvSpPr>
        <p:spPr>
          <a:xfrm>
            <a:off x="3801474" y="3162299"/>
            <a:ext cx="2117590" cy="2895045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85725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F6FEEAEE-19B8-254C-9050-C96E16BB6D85}"/>
              </a:ext>
            </a:extLst>
          </p:cNvPr>
          <p:cNvSpPr>
            <a:spLocks noGrp="1"/>
          </p:cNvSpPr>
          <p:nvPr>
            <p:ph type="body" idx="28"/>
          </p:nvPr>
        </p:nvSpPr>
        <p:spPr>
          <a:xfrm>
            <a:off x="6257703" y="3162299"/>
            <a:ext cx="2117590" cy="2895045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85725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3" name="Bildplatzhalter 5">
            <a:extLst>
              <a:ext uri="{FF2B5EF4-FFF2-40B4-BE49-F238E27FC236}">
                <a16:creationId xmlns:a16="http://schemas.microsoft.com/office/drawing/2014/main" id="{4A81357F-97F7-314E-B11F-877C34415C37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1349385" y="1562207"/>
            <a:ext cx="2117590" cy="1600093"/>
          </a:xfrm>
          <a:solidFill>
            <a:schemeClr val="accent2"/>
          </a:solidFill>
        </p:spPr>
        <p:txBody>
          <a:bodyPr anchor="ctr"/>
          <a:lstStyle>
            <a:lvl1pPr algn="ctr">
              <a:defRPr sz="200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4" name="Bildplatzhalter 5">
            <a:extLst>
              <a:ext uri="{FF2B5EF4-FFF2-40B4-BE49-F238E27FC236}">
                <a16:creationId xmlns:a16="http://schemas.microsoft.com/office/drawing/2014/main" id="{6DB35557-ED53-2742-888E-F64087CFACC3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801473" y="1562207"/>
            <a:ext cx="2116800" cy="1600093"/>
          </a:xfrm>
          <a:solidFill>
            <a:schemeClr val="accent2"/>
          </a:solidFill>
        </p:spPr>
        <p:txBody>
          <a:bodyPr anchor="ctr"/>
          <a:lstStyle>
            <a:lvl1pPr algn="ctr">
              <a:defRPr sz="200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5" name="Bildplatzhalter 5">
            <a:extLst>
              <a:ext uri="{FF2B5EF4-FFF2-40B4-BE49-F238E27FC236}">
                <a16:creationId xmlns:a16="http://schemas.microsoft.com/office/drawing/2014/main" id="{01D51DDC-0EDF-2644-9624-B300906A64BE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6257702" y="1562207"/>
            <a:ext cx="2116800" cy="1600093"/>
          </a:xfrm>
          <a:solidFill>
            <a:schemeClr val="accent2"/>
          </a:solidFill>
        </p:spPr>
        <p:txBody>
          <a:bodyPr anchor="ctr"/>
          <a:lstStyle>
            <a:lvl1pPr algn="ctr">
              <a:defRPr sz="200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6" name="Textplatzhalter 2">
            <a:extLst>
              <a:ext uri="{FF2B5EF4-FFF2-40B4-BE49-F238E27FC236}">
                <a16:creationId xmlns:a16="http://schemas.microsoft.com/office/drawing/2014/main" id="{38FC3FEA-D556-224A-AFDB-8ECF3C97AE5E}"/>
              </a:ext>
            </a:extLst>
          </p:cNvPr>
          <p:cNvSpPr>
            <a:spLocks noGrp="1"/>
          </p:cNvSpPr>
          <p:nvPr>
            <p:ph type="body" idx="32"/>
          </p:nvPr>
        </p:nvSpPr>
        <p:spPr>
          <a:xfrm>
            <a:off x="8706594" y="3162299"/>
            <a:ext cx="2117590" cy="2895045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85725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7" name="Bildplatzhalter 5">
            <a:extLst>
              <a:ext uri="{FF2B5EF4-FFF2-40B4-BE49-F238E27FC236}">
                <a16:creationId xmlns:a16="http://schemas.microsoft.com/office/drawing/2014/main" id="{9CA2F34E-5903-5842-A63D-5FB5477B1BE7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8706593" y="1562207"/>
            <a:ext cx="2116800" cy="1600093"/>
          </a:xfrm>
          <a:solidFill>
            <a:schemeClr val="accent2"/>
          </a:solidFill>
        </p:spPr>
        <p:txBody>
          <a:bodyPr anchor="ctr"/>
          <a:lstStyle>
            <a:lvl1pPr algn="ctr">
              <a:defRPr sz="200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CE7FD68B-38EB-6144-8FA7-AC383AD6BC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340234"/>
            <a:ext cx="11160125" cy="868362"/>
          </a:xfrm>
        </p:spPr>
        <p:txBody>
          <a:bodyPr vert="horz"/>
          <a:lstStyle>
            <a:lvl1pPr>
              <a:defRPr b="0">
                <a:latin typeface="+mn-lt"/>
              </a:defRPr>
            </a:lvl1pPr>
          </a:lstStyle>
          <a:p>
            <a:r>
              <a:rPr lang="de-DE" dirty="0"/>
              <a:t>Überschrift I Headline</a:t>
            </a:r>
          </a:p>
        </p:txBody>
      </p:sp>
      <p:sp>
        <p:nvSpPr>
          <p:cNvPr id="17" name="Textplatzhalter 4">
            <a:extLst>
              <a:ext uri="{FF2B5EF4-FFF2-40B4-BE49-F238E27FC236}">
                <a16:creationId xmlns:a16="http://schemas.microsoft.com/office/drawing/2014/main" id="{AD5E64C3-FCAE-E749-A5BE-838738FA72A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5938" y="831428"/>
            <a:ext cx="11160000" cy="387798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 dirty="0"/>
              <a:t>Untertitel bearbeiten I Edit </a:t>
            </a:r>
            <a:r>
              <a:rPr lang="de-DE" dirty="0" err="1"/>
              <a:t>subtitles</a:t>
            </a:r>
            <a:endParaRPr lang="de-DE" dirty="0"/>
          </a:p>
        </p:txBody>
      </p:sp>
      <p:sp>
        <p:nvSpPr>
          <p:cNvPr id="20" name="Foliennummernplatzhalter 5">
            <a:extLst>
              <a:ext uri="{FF2B5EF4-FFF2-40B4-BE49-F238E27FC236}">
                <a16:creationId xmlns:a16="http://schemas.microsoft.com/office/drawing/2014/main" id="{BC1BD849-4DF0-4A08-87D4-CAD6F478D7A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Nr.›</a:t>
            </a:fld>
            <a:r>
              <a:rPr lang="de-DE" dirty="0">
                <a:solidFill>
                  <a:schemeClr val="accent1"/>
                </a:solidFill>
              </a:rPr>
              <a:t>  </a:t>
            </a:r>
            <a:r>
              <a:rPr lang="de-DE" b="0" dirty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21" name="Fußzeilenplatzhalter 3">
            <a:extLst>
              <a:ext uri="{FF2B5EF4-FFF2-40B4-BE49-F238E27FC236}">
                <a16:creationId xmlns:a16="http://schemas.microsoft.com/office/drawing/2014/main" id="{F93A1C56-5A4E-426A-ACCC-9D321A3D6D8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DE"/>
              <a:t>Jeanette Thumm Update Empower</a:t>
            </a:r>
            <a:endParaRPr lang="de-DE" dirty="0"/>
          </a:p>
        </p:txBody>
      </p:sp>
      <p:sp>
        <p:nvSpPr>
          <p:cNvPr id="22" name="Datumsplatzhalter 8">
            <a:extLst>
              <a:ext uri="{FF2B5EF4-FFF2-40B4-BE49-F238E27FC236}">
                <a16:creationId xmlns:a16="http://schemas.microsoft.com/office/drawing/2014/main" id="{3DED4E95-6200-414D-9A6B-9D5105D90E8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AB19A4FC-76FE-4B52-A6BC-C4A9405F94A9}" type="datetime1">
              <a:rPr lang="de-DE"/>
              <a:pPr/>
              <a:t>21.04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54138981"/>
      </p:ext>
    </p:extLst>
  </p:cSld>
  <p:clrMapOvr>
    <a:masterClrMapping/>
  </p:clrMapOvr>
  <p:hf sldNum="0"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Text Bausteine +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1B222B94-2502-4655-8062-5612DD24CE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86439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6" progId="TCLayout.ActiveDocument.1">
                  <p:embed/>
                </p:oleObj>
              </mc:Choice>
              <mc:Fallback>
                <p:oleObj name="think-cell Folie" r:id="rId3" imgW="347" imgH="34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1B222B94-2502-4655-8062-5612DD24CE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F8B84CD2-499A-F941-B3C5-E0312EBB4C0F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515938" y="3162299"/>
            <a:ext cx="2116800" cy="2895045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85725" indent="0" algn="l">
              <a:lnSpc>
                <a:spcPct val="100000"/>
              </a:lnSpc>
              <a:buFont typeface="Wingdings" panose="05000000000000000000" pitchFamily="2" charset="2"/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1" name="Bildplatzhalter 5">
            <a:extLst>
              <a:ext uri="{FF2B5EF4-FFF2-40B4-BE49-F238E27FC236}">
                <a16:creationId xmlns:a16="http://schemas.microsoft.com/office/drawing/2014/main" id="{7897EC78-3C52-3C42-B05A-B6F95D927B4E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515938" y="1562207"/>
            <a:ext cx="2116800" cy="1600093"/>
          </a:xfrm>
          <a:solidFill>
            <a:schemeClr val="accent2"/>
          </a:solidFill>
        </p:spPr>
        <p:txBody>
          <a:bodyPr anchor="ctr"/>
          <a:lstStyle>
            <a:lvl1pPr algn="ctr">
              <a:defRPr sz="200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20CC3DF5-4E61-CC42-8746-62C798A90279}"/>
              </a:ext>
            </a:extLst>
          </p:cNvPr>
          <p:cNvSpPr>
            <a:spLocks noGrp="1"/>
          </p:cNvSpPr>
          <p:nvPr>
            <p:ph type="body" idx="26"/>
          </p:nvPr>
        </p:nvSpPr>
        <p:spPr>
          <a:xfrm>
            <a:off x="2773001" y="3162299"/>
            <a:ext cx="2117590" cy="2895045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85725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3" name="Bildplatzhalter 5">
            <a:extLst>
              <a:ext uri="{FF2B5EF4-FFF2-40B4-BE49-F238E27FC236}">
                <a16:creationId xmlns:a16="http://schemas.microsoft.com/office/drawing/2014/main" id="{BF6422A4-323F-7A42-92A0-1E2B3C9D9954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2773001" y="1562207"/>
            <a:ext cx="2117590" cy="1600093"/>
          </a:xfrm>
          <a:solidFill>
            <a:schemeClr val="accent2"/>
          </a:solidFill>
        </p:spPr>
        <p:txBody>
          <a:bodyPr anchor="ctr"/>
          <a:lstStyle>
            <a:lvl1pPr algn="ctr">
              <a:defRPr sz="200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4" name="Textplatzhalter 2">
            <a:extLst>
              <a:ext uri="{FF2B5EF4-FFF2-40B4-BE49-F238E27FC236}">
                <a16:creationId xmlns:a16="http://schemas.microsoft.com/office/drawing/2014/main" id="{B4D06F90-E41E-0B49-8666-6B158B15FA2B}"/>
              </a:ext>
            </a:extLst>
          </p:cNvPr>
          <p:cNvSpPr>
            <a:spLocks noGrp="1"/>
          </p:cNvSpPr>
          <p:nvPr>
            <p:ph type="body" idx="28"/>
          </p:nvPr>
        </p:nvSpPr>
        <p:spPr>
          <a:xfrm>
            <a:off x="5030064" y="3162299"/>
            <a:ext cx="2117590" cy="2895045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85725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7" name="Bildplatzhalter 5">
            <a:extLst>
              <a:ext uri="{FF2B5EF4-FFF2-40B4-BE49-F238E27FC236}">
                <a16:creationId xmlns:a16="http://schemas.microsoft.com/office/drawing/2014/main" id="{7937273B-3079-D743-89EA-5F9E1A2D17A2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5030064" y="1562207"/>
            <a:ext cx="2117590" cy="1600093"/>
          </a:xfrm>
          <a:solidFill>
            <a:schemeClr val="accent2"/>
          </a:solidFill>
        </p:spPr>
        <p:txBody>
          <a:bodyPr anchor="ctr"/>
          <a:lstStyle>
            <a:lvl1pPr algn="ctr">
              <a:defRPr sz="200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24E61058-EAFC-404D-962E-9D3EA73D60E3}"/>
              </a:ext>
            </a:extLst>
          </p:cNvPr>
          <p:cNvSpPr>
            <a:spLocks noGrp="1"/>
          </p:cNvSpPr>
          <p:nvPr>
            <p:ph type="body" idx="30"/>
          </p:nvPr>
        </p:nvSpPr>
        <p:spPr>
          <a:xfrm>
            <a:off x="7287127" y="3162299"/>
            <a:ext cx="2117590" cy="2895045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85725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9" name="Bildplatzhalter 5">
            <a:extLst>
              <a:ext uri="{FF2B5EF4-FFF2-40B4-BE49-F238E27FC236}">
                <a16:creationId xmlns:a16="http://schemas.microsoft.com/office/drawing/2014/main" id="{B628D14F-2DBF-3C4E-9CCE-DB3DF2B2DA90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7287127" y="1562207"/>
            <a:ext cx="2117590" cy="1600093"/>
          </a:xfrm>
          <a:solidFill>
            <a:schemeClr val="accent2"/>
          </a:solidFill>
        </p:spPr>
        <p:txBody>
          <a:bodyPr anchor="ctr"/>
          <a:lstStyle>
            <a:lvl1pPr algn="ctr">
              <a:defRPr sz="200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1" name="Bildplatzhalter 5">
            <a:extLst>
              <a:ext uri="{FF2B5EF4-FFF2-40B4-BE49-F238E27FC236}">
                <a16:creationId xmlns:a16="http://schemas.microsoft.com/office/drawing/2014/main" id="{8F005012-61F3-FD46-A7F4-3F20C54F2769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9544189" y="1562207"/>
            <a:ext cx="2116800" cy="1600093"/>
          </a:xfrm>
          <a:solidFill>
            <a:schemeClr val="accent2"/>
          </a:solidFill>
        </p:spPr>
        <p:txBody>
          <a:bodyPr anchor="ctr"/>
          <a:lstStyle>
            <a:lvl1pPr algn="ctr">
              <a:defRPr sz="200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7" name="Titel 1">
            <a:extLst>
              <a:ext uri="{FF2B5EF4-FFF2-40B4-BE49-F238E27FC236}">
                <a16:creationId xmlns:a16="http://schemas.microsoft.com/office/drawing/2014/main" id="{DB141F0E-C085-8E41-8B27-A60B1A4640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340234"/>
            <a:ext cx="11160125" cy="485266"/>
          </a:xfrm>
        </p:spPr>
        <p:txBody>
          <a:bodyPr vert="horz"/>
          <a:lstStyle>
            <a:lvl1pPr>
              <a:defRPr b="0">
                <a:latin typeface="+mn-lt"/>
              </a:defRPr>
            </a:lvl1pPr>
          </a:lstStyle>
          <a:p>
            <a:r>
              <a:rPr lang="de-DE" dirty="0"/>
              <a:t>Überschrift I Headline</a:t>
            </a:r>
          </a:p>
        </p:txBody>
      </p:sp>
      <p:sp>
        <p:nvSpPr>
          <p:cNvPr id="19" name="Textplatzhalter 4">
            <a:extLst>
              <a:ext uri="{FF2B5EF4-FFF2-40B4-BE49-F238E27FC236}">
                <a16:creationId xmlns:a16="http://schemas.microsoft.com/office/drawing/2014/main" id="{7BB1B1C8-E8A6-4949-8A76-D2271210947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5938" y="831428"/>
            <a:ext cx="11160000" cy="387798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 dirty="0"/>
              <a:t>Untertitel bearbeiten I Edit </a:t>
            </a:r>
            <a:r>
              <a:rPr lang="de-DE" dirty="0" err="1"/>
              <a:t>subtitles</a:t>
            </a:r>
            <a:endParaRPr lang="de-DE" dirty="0"/>
          </a:p>
        </p:txBody>
      </p:sp>
      <p:sp>
        <p:nvSpPr>
          <p:cNvPr id="30" name="Foliennummernplatzhalter 5">
            <a:extLst>
              <a:ext uri="{FF2B5EF4-FFF2-40B4-BE49-F238E27FC236}">
                <a16:creationId xmlns:a16="http://schemas.microsoft.com/office/drawing/2014/main" id="{571D6973-FC67-4F52-9D8B-A47CEB26E7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Nr.›</a:t>
            </a:fld>
            <a:r>
              <a:rPr lang="de-DE" dirty="0">
                <a:solidFill>
                  <a:schemeClr val="accent1"/>
                </a:solidFill>
              </a:rPr>
              <a:t>  </a:t>
            </a:r>
            <a:r>
              <a:rPr lang="de-DE" b="0" dirty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34" name="Fußzeilenplatzhalter 3">
            <a:extLst>
              <a:ext uri="{FF2B5EF4-FFF2-40B4-BE49-F238E27FC236}">
                <a16:creationId xmlns:a16="http://schemas.microsoft.com/office/drawing/2014/main" id="{3D514009-6C20-4D51-B50D-1B90D212274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DE"/>
              <a:t>Jeanette Thumm Update Empower</a:t>
            </a:r>
            <a:endParaRPr lang="de-DE" dirty="0"/>
          </a:p>
        </p:txBody>
      </p:sp>
      <p:sp>
        <p:nvSpPr>
          <p:cNvPr id="35" name="Datumsplatzhalter 8">
            <a:extLst>
              <a:ext uri="{FF2B5EF4-FFF2-40B4-BE49-F238E27FC236}">
                <a16:creationId xmlns:a16="http://schemas.microsoft.com/office/drawing/2014/main" id="{642FDABF-E85F-4B0F-BCA6-43353C8DD37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AB19A4FC-76FE-4B52-A6BC-C4A9405F94A9}" type="datetime1">
              <a:rPr lang="de-DE"/>
              <a:pPr/>
              <a:t>21.04.2023</a:t>
            </a:fld>
            <a:endParaRPr lang="de-DE" dirty="0"/>
          </a:p>
        </p:txBody>
      </p:sp>
      <p:sp>
        <p:nvSpPr>
          <p:cNvPr id="20" name="Textplatzhalter 2">
            <a:extLst>
              <a:ext uri="{FF2B5EF4-FFF2-40B4-BE49-F238E27FC236}">
                <a16:creationId xmlns:a16="http://schemas.microsoft.com/office/drawing/2014/main" id="{E5FF205B-376C-4039-99A2-CE5D35772823}"/>
              </a:ext>
            </a:extLst>
          </p:cNvPr>
          <p:cNvSpPr>
            <a:spLocks noGrp="1"/>
          </p:cNvSpPr>
          <p:nvPr>
            <p:ph type="body" idx="34"/>
          </p:nvPr>
        </p:nvSpPr>
        <p:spPr>
          <a:xfrm>
            <a:off x="9544189" y="3131527"/>
            <a:ext cx="2117590" cy="2895045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85725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995444417"/>
      </p:ext>
    </p:extLst>
  </p:cSld>
  <p:clrMapOvr>
    <a:masterClrMapping/>
  </p:clrMapOvr>
  <p:hf sldNum="0"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folie_TRUMP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B34011D-FC5D-41C9-A6F5-E3DD18E9BF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5" name="TRUMPF Website">
            <a:extLst>
              <a:ext uri="{FF2B5EF4-FFF2-40B4-BE49-F238E27FC236}">
                <a16:creationId xmlns:a16="http://schemas.microsoft.com/office/drawing/2014/main" id="{59038479-5C93-41EA-B0E7-C419ED89BB02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fld id="{6AD318DE-9377-402A-9500-C4B83375036C}" type="datetime1">
              <a:rPr lang="de-DE"/>
              <a:pPr/>
              <a:t>21.04.2023</a:t>
            </a:fld>
            <a:endParaRPr lang="de-DE" dirty="0"/>
          </a:p>
        </p:txBody>
      </p:sp>
      <p:pic>
        <p:nvPicPr>
          <p:cNvPr id="6" name="Hauptpforte">
            <a:extLst>
              <a:ext uri="{FF2B5EF4-FFF2-40B4-BE49-F238E27FC236}">
                <a16:creationId xmlns:a16="http://schemas.microsoft.com/office/drawing/2014/main" id="{EA5A5E46-6E32-4189-A8C7-6B12C67735ED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363"/>
          <a:stretch/>
        </p:blipFill>
        <p:spPr>
          <a:xfrm>
            <a:off x="-1" y="858"/>
            <a:ext cx="12192001" cy="6857142"/>
          </a:xfrm>
          <a:prstGeom prst="rect">
            <a:avLst/>
          </a:prstGeom>
        </p:spPr>
      </p:pic>
      <p:sp>
        <p:nvSpPr>
          <p:cNvPr id="15" name="Rechteck 14">
            <a:extLst>
              <a:ext uri="{FF2B5EF4-FFF2-40B4-BE49-F238E27FC236}">
                <a16:creationId xmlns:a16="http://schemas.microsoft.com/office/drawing/2014/main" id="{9FB0AAD3-B649-2A4A-9958-5AE5CA57149D}"/>
              </a:ext>
            </a:extLst>
          </p:cNvPr>
          <p:cNvSpPr/>
          <p:nvPr userDrawn="1"/>
        </p:nvSpPr>
        <p:spPr>
          <a:xfrm>
            <a:off x="1" y="3124200"/>
            <a:ext cx="4669025" cy="3155193"/>
          </a:xfrm>
          <a:prstGeom prst="rect">
            <a:avLst/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18" name="Titel 4">
            <a:extLst>
              <a:ext uri="{FF2B5EF4-FFF2-40B4-BE49-F238E27FC236}">
                <a16:creationId xmlns:a16="http://schemas.microsoft.com/office/drawing/2014/main" id="{68A18138-9391-AF45-8382-94D7791BA496}"/>
              </a:ext>
            </a:extLst>
          </p:cNvPr>
          <p:cNvSpPr txBox="1">
            <a:spLocks/>
          </p:cNvSpPr>
          <p:nvPr userDrawn="1"/>
        </p:nvSpPr>
        <p:spPr>
          <a:xfrm>
            <a:off x="515938" y="4688163"/>
            <a:ext cx="3611394" cy="22815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sz="1200" dirty="0">
                <a:solidFill>
                  <a:srgbClr val="5F5F5F"/>
                </a:solidFill>
                <a:latin typeface="+mj-lt"/>
              </a:rPr>
              <a:t>Ansprechpartner</a:t>
            </a:r>
          </a:p>
        </p:txBody>
      </p:sp>
      <p:sp>
        <p:nvSpPr>
          <p:cNvPr id="19" name="Titel 4">
            <a:extLst>
              <a:ext uri="{FF2B5EF4-FFF2-40B4-BE49-F238E27FC236}">
                <a16:creationId xmlns:a16="http://schemas.microsoft.com/office/drawing/2014/main" id="{3DDDD31B-E576-7142-8AF2-55D312AE22B7}"/>
              </a:ext>
            </a:extLst>
          </p:cNvPr>
          <p:cNvSpPr txBox="1">
            <a:spLocks/>
          </p:cNvSpPr>
          <p:nvPr userDrawn="1"/>
        </p:nvSpPr>
        <p:spPr>
          <a:xfrm>
            <a:off x="515938" y="4112832"/>
            <a:ext cx="2638292" cy="49059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sz="3600" b="0" dirty="0">
                <a:solidFill>
                  <a:prstClr val="black"/>
                </a:solidFill>
                <a:latin typeface="+mj-lt"/>
                <a:cs typeface="Segoe UI" panose="020B0502040204020203" pitchFamily="34" charset="0"/>
              </a:rPr>
              <a:t>Vielen Dank.</a:t>
            </a:r>
          </a:p>
        </p:txBody>
      </p:sp>
      <p:sp>
        <p:nvSpPr>
          <p:cNvPr id="20" name="Titel 4">
            <a:extLst>
              <a:ext uri="{FF2B5EF4-FFF2-40B4-BE49-F238E27FC236}">
                <a16:creationId xmlns:a16="http://schemas.microsoft.com/office/drawing/2014/main" id="{2D024F42-39BD-8046-8FA4-B132C12269D6}"/>
              </a:ext>
            </a:extLst>
          </p:cNvPr>
          <p:cNvSpPr txBox="1">
            <a:spLocks/>
          </p:cNvSpPr>
          <p:nvPr userDrawn="1"/>
        </p:nvSpPr>
        <p:spPr>
          <a:xfrm>
            <a:off x="515938" y="6510262"/>
            <a:ext cx="1419971" cy="15668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sz="1000" err="1">
                <a:solidFill>
                  <a:prstClr val="white"/>
                </a:solidFill>
                <a:latin typeface="+mj-lt"/>
                <a:cs typeface="Segoe UI" panose="020B0502040204020203" pitchFamily="34" charset="0"/>
              </a:rPr>
              <a:t>www.trumpf.com</a:t>
            </a:r>
            <a:endParaRPr lang="de-DE" sz="1000">
              <a:solidFill>
                <a:prstClr val="white"/>
              </a:solidFill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3" name="Rechteck 2">
            <a:hlinkClick r:id="rId4"/>
            <a:extLst>
              <a:ext uri="{FF2B5EF4-FFF2-40B4-BE49-F238E27FC236}">
                <a16:creationId xmlns:a16="http://schemas.microsoft.com/office/drawing/2014/main" id="{100B09FF-D191-244F-A67F-B62A7C7886D4}"/>
              </a:ext>
            </a:extLst>
          </p:cNvPr>
          <p:cNvSpPr/>
          <p:nvPr userDrawn="1"/>
        </p:nvSpPr>
        <p:spPr>
          <a:xfrm>
            <a:off x="365760" y="6510262"/>
            <a:ext cx="1306286" cy="15207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b="1" dirty="0"/>
          </a:p>
        </p:txBody>
      </p:sp>
      <p:sp>
        <p:nvSpPr>
          <p:cNvPr id="23" name="Textplatzhalter 6">
            <a:extLst>
              <a:ext uri="{FF2B5EF4-FFF2-40B4-BE49-F238E27FC236}">
                <a16:creationId xmlns:a16="http://schemas.microsoft.com/office/drawing/2014/main" id="{A9BA4CA5-E0A3-8A42-9EA4-6A92C15B418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833" y="4936788"/>
            <a:ext cx="3608499" cy="228155"/>
          </a:xfrm>
        </p:spPr>
        <p:txBody>
          <a:bodyPr/>
          <a:lstStyle>
            <a:lvl1pPr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Name</a:t>
            </a:r>
          </a:p>
        </p:txBody>
      </p:sp>
      <p:sp>
        <p:nvSpPr>
          <p:cNvPr id="24" name="Textplatzhalter 6">
            <a:extLst>
              <a:ext uri="{FF2B5EF4-FFF2-40B4-BE49-F238E27FC236}">
                <a16:creationId xmlns:a16="http://schemas.microsoft.com/office/drawing/2014/main" id="{5F6F4EDA-1900-9641-B7E9-6EE1212445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8833" y="5233460"/>
            <a:ext cx="3608499" cy="228155"/>
          </a:xfrm>
        </p:spPr>
        <p:txBody>
          <a:bodyPr/>
          <a:lstStyle>
            <a:lvl1pPr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Abteilung</a:t>
            </a:r>
          </a:p>
        </p:txBody>
      </p:sp>
      <p:sp>
        <p:nvSpPr>
          <p:cNvPr id="25" name="Textplatzhalter 6">
            <a:extLst>
              <a:ext uri="{FF2B5EF4-FFF2-40B4-BE49-F238E27FC236}">
                <a16:creationId xmlns:a16="http://schemas.microsoft.com/office/drawing/2014/main" id="{5AFD2953-E35C-8147-8A6E-70D8068FEBE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8833" y="5530132"/>
            <a:ext cx="3608499" cy="228155"/>
          </a:xfrm>
        </p:spPr>
        <p:txBody>
          <a:bodyPr/>
          <a:lstStyle>
            <a:lvl1pPr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elefonnummer</a:t>
            </a:r>
          </a:p>
        </p:txBody>
      </p:sp>
      <p:sp>
        <p:nvSpPr>
          <p:cNvPr id="26" name="Textplatzhalter 6">
            <a:extLst>
              <a:ext uri="{FF2B5EF4-FFF2-40B4-BE49-F238E27FC236}">
                <a16:creationId xmlns:a16="http://schemas.microsoft.com/office/drawing/2014/main" id="{26B8DF3F-AF05-AB4A-8DD1-37D9E3451E4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8833" y="5826804"/>
            <a:ext cx="3608499" cy="228155"/>
          </a:xfrm>
        </p:spPr>
        <p:txBody>
          <a:bodyPr/>
          <a:lstStyle>
            <a:lvl1pPr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E-Mailadresse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E252068B-45B4-4995-89D4-76549E8FF8B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3860" y="3212413"/>
            <a:ext cx="2346511" cy="7901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9969330"/>
      </p:ext>
    </p:extLst>
  </p:cSld>
  <p:clrMapOvr>
    <a:masterClrMapping/>
  </p:clrMapOvr>
  <p:hf hd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act Slide_TRUMP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B34011D-FC5D-41C9-A6F5-E3DD18E9BF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5" name="TRUMPF Website">
            <a:extLst>
              <a:ext uri="{FF2B5EF4-FFF2-40B4-BE49-F238E27FC236}">
                <a16:creationId xmlns:a16="http://schemas.microsoft.com/office/drawing/2014/main" id="{59038479-5C93-41EA-B0E7-C419ED89BB02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fld id="{6AD318DE-9377-402A-9500-C4B83375036C}" type="datetime1">
              <a:rPr lang="de-DE"/>
              <a:pPr/>
              <a:t>21.04.2023</a:t>
            </a:fld>
            <a:endParaRPr lang="de-DE" dirty="0"/>
          </a:p>
        </p:txBody>
      </p:sp>
      <p:pic>
        <p:nvPicPr>
          <p:cNvPr id="6" name="Hauptpforte">
            <a:extLst>
              <a:ext uri="{FF2B5EF4-FFF2-40B4-BE49-F238E27FC236}">
                <a16:creationId xmlns:a16="http://schemas.microsoft.com/office/drawing/2014/main" id="{EA5A5E46-6E32-4189-A8C7-6B12C67735ED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363"/>
          <a:stretch/>
        </p:blipFill>
        <p:spPr>
          <a:xfrm>
            <a:off x="-1" y="858"/>
            <a:ext cx="12192001" cy="6857142"/>
          </a:xfrm>
          <a:prstGeom prst="rect">
            <a:avLst/>
          </a:prstGeom>
        </p:spPr>
      </p:pic>
      <p:sp>
        <p:nvSpPr>
          <p:cNvPr id="20" name="Titel 4">
            <a:extLst>
              <a:ext uri="{FF2B5EF4-FFF2-40B4-BE49-F238E27FC236}">
                <a16:creationId xmlns:a16="http://schemas.microsoft.com/office/drawing/2014/main" id="{2D024F42-39BD-8046-8FA4-B132C12269D6}"/>
              </a:ext>
            </a:extLst>
          </p:cNvPr>
          <p:cNvSpPr txBox="1">
            <a:spLocks/>
          </p:cNvSpPr>
          <p:nvPr userDrawn="1"/>
        </p:nvSpPr>
        <p:spPr>
          <a:xfrm>
            <a:off x="515938" y="6510262"/>
            <a:ext cx="1419971" cy="15668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sz="1000" err="1">
                <a:solidFill>
                  <a:prstClr val="white"/>
                </a:solidFill>
                <a:latin typeface="+mj-lt"/>
                <a:cs typeface="Segoe UI" panose="020B0502040204020203" pitchFamily="34" charset="0"/>
              </a:rPr>
              <a:t>www.trumpf.com</a:t>
            </a:r>
            <a:endParaRPr lang="de-DE" sz="1000">
              <a:solidFill>
                <a:prstClr val="white"/>
              </a:solidFill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3" name="Rechteck 2">
            <a:hlinkClick r:id="rId4"/>
            <a:extLst>
              <a:ext uri="{FF2B5EF4-FFF2-40B4-BE49-F238E27FC236}">
                <a16:creationId xmlns:a16="http://schemas.microsoft.com/office/drawing/2014/main" id="{100B09FF-D191-244F-A67F-B62A7C7886D4}"/>
              </a:ext>
            </a:extLst>
          </p:cNvPr>
          <p:cNvSpPr/>
          <p:nvPr userDrawn="1"/>
        </p:nvSpPr>
        <p:spPr>
          <a:xfrm>
            <a:off x="365760" y="6510262"/>
            <a:ext cx="1306286" cy="15207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b="1" dirty="0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285DEA54-B57E-4A3F-8626-3917E19AF3A1}"/>
              </a:ext>
            </a:extLst>
          </p:cNvPr>
          <p:cNvSpPr/>
          <p:nvPr userDrawn="1"/>
        </p:nvSpPr>
        <p:spPr>
          <a:xfrm>
            <a:off x="1" y="3124200"/>
            <a:ext cx="4669025" cy="3155193"/>
          </a:xfrm>
          <a:prstGeom prst="rect">
            <a:avLst/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21" name="Titel 4">
            <a:extLst>
              <a:ext uri="{FF2B5EF4-FFF2-40B4-BE49-F238E27FC236}">
                <a16:creationId xmlns:a16="http://schemas.microsoft.com/office/drawing/2014/main" id="{F0348EAF-679D-4728-9335-EC9DD8940AC5}"/>
              </a:ext>
            </a:extLst>
          </p:cNvPr>
          <p:cNvSpPr txBox="1">
            <a:spLocks/>
          </p:cNvSpPr>
          <p:nvPr userDrawn="1"/>
        </p:nvSpPr>
        <p:spPr>
          <a:xfrm>
            <a:off x="515938" y="4688163"/>
            <a:ext cx="3611394" cy="22815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sz="1200" dirty="0">
                <a:solidFill>
                  <a:srgbClr val="5F5F5F"/>
                </a:solidFill>
                <a:latin typeface="+mj-lt"/>
              </a:rPr>
              <a:t>Contact Person</a:t>
            </a:r>
          </a:p>
        </p:txBody>
      </p:sp>
      <p:sp>
        <p:nvSpPr>
          <p:cNvPr id="22" name="Titel 4">
            <a:extLst>
              <a:ext uri="{FF2B5EF4-FFF2-40B4-BE49-F238E27FC236}">
                <a16:creationId xmlns:a16="http://schemas.microsoft.com/office/drawing/2014/main" id="{812C48B3-F225-4797-8C40-3B338DA339C7}"/>
              </a:ext>
            </a:extLst>
          </p:cNvPr>
          <p:cNvSpPr txBox="1">
            <a:spLocks/>
          </p:cNvSpPr>
          <p:nvPr userDrawn="1"/>
        </p:nvSpPr>
        <p:spPr>
          <a:xfrm>
            <a:off x="515938" y="4112832"/>
            <a:ext cx="2638292" cy="49059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sz="3600" b="0" dirty="0" err="1">
                <a:solidFill>
                  <a:prstClr val="black"/>
                </a:solidFill>
                <a:latin typeface="+mj-lt"/>
                <a:cs typeface="Segoe UI" panose="020B0502040204020203" pitchFamily="34" charset="0"/>
              </a:rPr>
              <a:t>Thank</a:t>
            </a:r>
            <a:r>
              <a:rPr lang="de-DE" sz="3600" b="0" dirty="0">
                <a:solidFill>
                  <a:prstClr val="black"/>
                </a:solidFill>
                <a:latin typeface="+mj-lt"/>
                <a:cs typeface="Segoe UI" panose="020B0502040204020203" pitchFamily="34" charset="0"/>
              </a:rPr>
              <a:t> </a:t>
            </a:r>
            <a:r>
              <a:rPr lang="de-DE" sz="3600" b="0" dirty="0" err="1">
                <a:solidFill>
                  <a:prstClr val="black"/>
                </a:solidFill>
                <a:latin typeface="+mj-lt"/>
                <a:cs typeface="Segoe UI" panose="020B0502040204020203" pitchFamily="34" charset="0"/>
              </a:rPr>
              <a:t>You</a:t>
            </a:r>
            <a:r>
              <a:rPr lang="de-DE" sz="3600" b="0" dirty="0">
                <a:solidFill>
                  <a:prstClr val="black"/>
                </a:solidFill>
                <a:latin typeface="+mj-lt"/>
                <a:cs typeface="Segoe UI" panose="020B0502040204020203" pitchFamily="34" charset="0"/>
              </a:rPr>
              <a:t>.</a:t>
            </a:r>
          </a:p>
        </p:txBody>
      </p:sp>
      <p:sp>
        <p:nvSpPr>
          <p:cNvPr id="27" name="Textplatzhalter 6">
            <a:extLst>
              <a:ext uri="{FF2B5EF4-FFF2-40B4-BE49-F238E27FC236}">
                <a16:creationId xmlns:a16="http://schemas.microsoft.com/office/drawing/2014/main" id="{62BED932-9411-4A51-BD49-18BBE3E915C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833" y="4936788"/>
            <a:ext cx="3608499" cy="228155"/>
          </a:xfrm>
        </p:spPr>
        <p:txBody>
          <a:bodyPr/>
          <a:lstStyle>
            <a:lvl1pPr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Name</a:t>
            </a:r>
          </a:p>
        </p:txBody>
      </p:sp>
      <p:sp>
        <p:nvSpPr>
          <p:cNvPr id="28" name="Textplatzhalter 6">
            <a:extLst>
              <a:ext uri="{FF2B5EF4-FFF2-40B4-BE49-F238E27FC236}">
                <a16:creationId xmlns:a16="http://schemas.microsoft.com/office/drawing/2014/main" id="{69E6D455-C132-4E88-A034-2DD452FAE20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8833" y="5233460"/>
            <a:ext cx="3608499" cy="228155"/>
          </a:xfrm>
        </p:spPr>
        <p:txBody>
          <a:bodyPr/>
          <a:lstStyle>
            <a:lvl1pPr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Department</a:t>
            </a:r>
          </a:p>
        </p:txBody>
      </p:sp>
      <p:sp>
        <p:nvSpPr>
          <p:cNvPr id="29" name="Textplatzhalter 6">
            <a:extLst>
              <a:ext uri="{FF2B5EF4-FFF2-40B4-BE49-F238E27FC236}">
                <a16:creationId xmlns:a16="http://schemas.microsoft.com/office/drawing/2014/main" id="{3C480363-0218-48FE-B0FF-0B9723D696E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8833" y="5530132"/>
            <a:ext cx="3608499" cy="228155"/>
          </a:xfrm>
        </p:spPr>
        <p:txBody>
          <a:bodyPr/>
          <a:lstStyle>
            <a:lvl1pPr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Phone </a:t>
            </a:r>
            <a:r>
              <a:rPr lang="de-DE" dirty="0" err="1"/>
              <a:t>number</a:t>
            </a:r>
            <a:endParaRPr lang="de-DE" dirty="0"/>
          </a:p>
        </p:txBody>
      </p:sp>
      <p:sp>
        <p:nvSpPr>
          <p:cNvPr id="30" name="Textplatzhalter 6">
            <a:extLst>
              <a:ext uri="{FF2B5EF4-FFF2-40B4-BE49-F238E27FC236}">
                <a16:creationId xmlns:a16="http://schemas.microsoft.com/office/drawing/2014/main" id="{E79A091A-16DF-4ED4-8F2A-D9DAA74E853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8833" y="5826804"/>
            <a:ext cx="3608499" cy="228155"/>
          </a:xfrm>
        </p:spPr>
        <p:txBody>
          <a:bodyPr/>
          <a:lstStyle>
            <a:lvl1pPr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err="1"/>
              <a:t>E-mail</a:t>
            </a:r>
            <a:r>
              <a:rPr lang="de-DE" dirty="0"/>
              <a:t> </a:t>
            </a:r>
            <a:r>
              <a:rPr lang="de-DE" dirty="0" err="1"/>
              <a:t>address</a:t>
            </a:r>
            <a:endParaRPr lang="de-DE" dirty="0"/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AB7B5B0C-1AD3-4DB7-B48F-F05E7BE7357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3860" y="3212413"/>
            <a:ext cx="2346511" cy="7901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6365806"/>
      </p:ext>
    </p:extLst>
  </p:cSld>
  <p:clrMapOvr>
    <a:masterClrMapping/>
  </p:clrMapOvr>
  <p:hf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bild ganzseitig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79469B77-4928-4FF2-8529-F45439CA0C4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9590058 w 12192000"/>
              <a:gd name="connsiteY0" fmla="*/ 5814134 h 6858000"/>
              <a:gd name="connsiteX1" fmla="*/ 9590058 w 12192000"/>
              <a:gd name="connsiteY1" fmla="*/ 6604274 h 6858000"/>
              <a:gd name="connsiteX2" fmla="*/ 11936569 w 12192000"/>
              <a:gd name="connsiteY2" fmla="*/ 6604274 h 6858000"/>
              <a:gd name="connsiteX3" fmla="*/ 11936569 w 12192000"/>
              <a:gd name="connsiteY3" fmla="*/ 5814134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9590058" y="5814134"/>
                </a:moveTo>
                <a:lnTo>
                  <a:pt x="9590058" y="6604274"/>
                </a:lnTo>
                <a:lnTo>
                  <a:pt x="11936569" y="6604274"/>
                </a:lnTo>
                <a:lnTo>
                  <a:pt x="11936569" y="5814134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2"/>
          </a:solidFill>
        </p:spPr>
        <p:txBody>
          <a:bodyPr vert="horz" wrap="square" lIns="0" tIns="0" rIns="0" bIns="0" rtlCol="0" anchor="t">
            <a:noAutofit/>
          </a:bodyPr>
          <a:lstStyle>
            <a:lvl1pPr>
              <a:defRPr lang="en-US" sz="2000" b="0">
                <a:solidFill>
                  <a:schemeClr val="accent4"/>
                </a:solidFill>
                <a:latin typeface="+mn-lt"/>
              </a:defRPr>
            </a:lvl1pPr>
          </a:lstStyle>
          <a:p>
            <a:pPr lvl="0" algn="ctr"/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EFD6C72-2063-AD48-9727-C4AB16A6DE1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15938" y="3777363"/>
            <a:ext cx="4875212" cy="215444"/>
          </a:xfrm>
          <a:noFill/>
        </p:spPr>
        <p:txBody>
          <a:bodyPr wrap="square" lIns="216000" tIns="0" rIns="0" bIns="0" anchor="ctr">
            <a:spAutoFit/>
          </a:bodyPr>
          <a:lstStyle>
            <a:lvl1pPr marL="0" indent="0" algn="l">
              <a:buNone/>
              <a:defRPr lang="de-DE" sz="14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177" indent="0" algn="ctr">
              <a:buNone/>
              <a:defRPr sz="2000"/>
            </a:lvl2pPr>
            <a:lvl3pPr marL="914355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3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7" indent="0" algn="ctr">
              <a:buNone/>
              <a:defRPr sz="1600"/>
            </a:lvl9pPr>
          </a:lstStyle>
          <a:p>
            <a:r>
              <a:rPr lang="de-DE" dirty="0"/>
              <a:t>Dachzeile I </a:t>
            </a:r>
            <a:r>
              <a:rPr lang="de-DE" dirty="0" err="1"/>
              <a:t>Overline</a:t>
            </a:r>
            <a:endParaRPr lang="de-DE" dirty="0"/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97AA3D91-2715-1245-B649-15816B60CB0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15938" y="4068000"/>
            <a:ext cx="11198984" cy="1064355"/>
          </a:xfrm>
          <a:noFill/>
          <a:effectLst/>
        </p:spPr>
        <p:txBody>
          <a:bodyPr vert="horz" lIns="198000" tIns="0" rIns="0" anchor="b" anchorCtr="0">
            <a:noAutofit/>
          </a:bodyPr>
          <a:lstStyle>
            <a:lvl1pPr marL="0"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3600" b="0" kern="1200" cap="none" baseline="0" dirty="0">
                <a:solidFill>
                  <a:schemeClr val="bg1"/>
                </a:solidFill>
                <a:latin typeface="+mn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Überschrift</a:t>
            </a:r>
            <a:br>
              <a:rPr lang="de-DE" dirty="0"/>
            </a:br>
            <a:r>
              <a:rPr lang="de-DE" dirty="0"/>
              <a:t>Headline</a:t>
            </a:r>
          </a:p>
        </p:txBody>
      </p:sp>
      <p:cxnSp>
        <p:nvCxnSpPr>
          <p:cNvPr id="9" name="Gerade Verbindung 8">
            <a:extLst>
              <a:ext uri="{FF2B5EF4-FFF2-40B4-BE49-F238E27FC236}">
                <a16:creationId xmlns:a16="http://schemas.microsoft.com/office/drawing/2014/main" id="{5D6BFDAA-1B23-B44C-B430-5B98D64133FF}"/>
              </a:ext>
            </a:extLst>
          </p:cNvPr>
          <p:cNvCxnSpPr>
            <a:cxnSpLocks/>
          </p:cNvCxnSpPr>
          <p:nvPr userDrawn="1"/>
        </p:nvCxnSpPr>
        <p:spPr>
          <a:xfrm>
            <a:off x="674962" y="5390460"/>
            <a:ext cx="2577897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E31E8C8-7C50-4010-8FA8-5E3FC76DB094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537680" y="5582714"/>
            <a:ext cx="4782950" cy="215444"/>
          </a:xfrm>
        </p:spPr>
        <p:txBody>
          <a:bodyPr lIns="216000" tIns="0" rIns="0" bIns="0"/>
          <a:lstStyle>
            <a:lvl1pPr>
              <a:spcBef>
                <a:spcPts val="600"/>
              </a:spcBef>
              <a:spcAft>
                <a:spcPts val="600"/>
              </a:spcAft>
              <a:defRPr sz="1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de-DE" dirty="0"/>
              <a:t>Thomas Kieferle | Innovationswerkstatt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0C708E70-C117-45C9-A543-69237EA4A5C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0058" y="5814134"/>
            <a:ext cx="2346511" cy="7901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8845775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04 Titel I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16535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Bildplatzhalter 3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5914800" cy="6858000"/>
          </a:xfrm>
          <a:solidFill>
            <a:schemeClr val="tx2"/>
          </a:solidFill>
        </p:spPr>
        <p:txBody>
          <a:bodyPr vert="horz" lIns="0" tIns="0" rIns="0" bIns="0" rtlCol="0" anchor="ctr">
            <a:noAutofit/>
          </a:bodyPr>
          <a:lstStyle>
            <a:lvl1pPr>
              <a:defRPr lang="de-DE" sz="2000" b="0" dirty="0">
                <a:solidFill>
                  <a:schemeClr val="accent4"/>
                </a:solidFill>
              </a:defRPr>
            </a:lvl1pPr>
          </a:lstStyle>
          <a:p>
            <a:pPr lvl="0" algn="ctr"/>
            <a:r>
              <a:rPr lang="de-DE" dirty="0"/>
              <a:t>Bild durch Klicken auf Symbol hinzufügen I Add </a:t>
            </a:r>
            <a:r>
              <a:rPr lang="de-DE" dirty="0" err="1"/>
              <a:t>image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clicking</a:t>
            </a:r>
            <a:r>
              <a:rPr lang="de-DE" dirty="0"/>
              <a:t> </a:t>
            </a:r>
            <a:r>
              <a:rPr lang="de-DE" dirty="0" err="1"/>
              <a:t>icon</a:t>
            </a:r>
            <a:endParaRPr lang="en-US" dirty="0"/>
          </a:p>
        </p:txBody>
      </p:sp>
      <p:sp>
        <p:nvSpPr>
          <p:cNvPr id="12" name="Untertitel 2">
            <a:extLst>
              <a:ext uri="{FF2B5EF4-FFF2-40B4-BE49-F238E27FC236}">
                <a16:creationId xmlns:a16="http://schemas.microsoft.com/office/drawing/2014/main" id="{6917DA5D-DFE8-7C4C-8AB4-CAC5CA368F8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76064" y="1499263"/>
            <a:ext cx="1760070" cy="215444"/>
          </a:xfrm>
          <a:noFill/>
        </p:spPr>
        <p:txBody>
          <a:bodyPr wrap="none" lIns="216000" tIns="0" rIns="0" bIns="0" anchor="ctr">
            <a:spAutoFit/>
          </a:bodyPr>
          <a:lstStyle>
            <a:lvl1pPr marL="0" indent="0" algn="l">
              <a:buNone/>
              <a:defRPr lang="de-DE" sz="1400" b="0" kern="1200" dirty="0">
                <a:solidFill>
                  <a:srgbClr val="575756"/>
                </a:solidFill>
                <a:latin typeface="+mn-lt"/>
                <a:ea typeface="+mn-ea"/>
                <a:cs typeface="+mn-cs"/>
              </a:defRPr>
            </a:lvl1pPr>
            <a:lvl2pPr marL="457177" indent="0" algn="ctr">
              <a:buNone/>
              <a:defRPr sz="2000"/>
            </a:lvl2pPr>
            <a:lvl3pPr marL="914355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3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7" indent="0" algn="ctr">
              <a:buNone/>
              <a:defRPr sz="1600"/>
            </a:lvl9pPr>
          </a:lstStyle>
          <a:p>
            <a:r>
              <a:rPr lang="de-DE" dirty="0"/>
              <a:t>Dachzeile I </a:t>
            </a:r>
            <a:r>
              <a:rPr lang="de-DE" dirty="0" err="1"/>
              <a:t>O</a:t>
            </a:r>
            <a:r>
              <a:rPr lang="de-DE" b="0" i="0" dirty="0" err="1">
                <a:solidFill>
                  <a:srgbClr val="242424"/>
                </a:solidFill>
                <a:effectLst/>
                <a:latin typeface="-apple-system"/>
              </a:rPr>
              <a:t>verline</a:t>
            </a:r>
            <a:endParaRPr lang="de-DE" dirty="0"/>
          </a:p>
        </p:txBody>
      </p:sp>
      <p:sp>
        <p:nvSpPr>
          <p:cNvPr id="17" name="Titel 1">
            <a:extLst>
              <a:ext uri="{FF2B5EF4-FFF2-40B4-BE49-F238E27FC236}">
                <a16:creationId xmlns:a16="http://schemas.microsoft.com/office/drawing/2014/main" id="{3E4B09D7-D09D-1144-A835-68CC3D5E8AB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76063" y="1745628"/>
            <a:ext cx="4782951" cy="1064355"/>
          </a:xfrm>
          <a:noFill/>
          <a:effectLst/>
        </p:spPr>
        <p:txBody>
          <a:bodyPr lIns="198000" tIns="0" rIns="0" anchor="b" anchorCtr="0">
            <a:noAutofit/>
          </a:bodyPr>
          <a:lstStyle>
            <a:lvl1pPr marL="0"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3600" b="0" kern="1200" cap="none" baseline="0" dirty="0">
                <a:solidFill>
                  <a:schemeClr val="tx1">
                    <a:lumMod val="50000"/>
                  </a:schemeClr>
                </a:solidFill>
                <a:latin typeface="+mn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Überschrift</a:t>
            </a:r>
            <a:br>
              <a:rPr lang="de-DE" dirty="0"/>
            </a:br>
            <a:r>
              <a:rPr lang="de-DE" dirty="0"/>
              <a:t>Headline</a:t>
            </a:r>
          </a:p>
        </p:txBody>
      </p:sp>
      <p:sp>
        <p:nvSpPr>
          <p:cNvPr id="18" name="Fußzeilenplatzhalter 4">
            <a:extLst>
              <a:ext uri="{FF2B5EF4-FFF2-40B4-BE49-F238E27FC236}">
                <a16:creationId xmlns:a16="http://schemas.microsoft.com/office/drawing/2014/main" id="{6D46DD6D-39B6-7346-8FB3-30800BFB33D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276064" y="3241250"/>
            <a:ext cx="4782950" cy="215444"/>
          </a:xfrm>
        </p:spPr>
        <p:txBody>
          <a:bodyPr lIns="216000" tIns="0" rIns="0" bIns="0"/>
          <a:lstStyle>
            <a:lvl1pPr>
              <a:spcBef>
                <a:spcPts val="600"/>
              </a:spcBef>
              <a:spcAft>
                <a:spcPts val="600"/>
              </a:spcAft>
              <a:defRPr sz="1400">
                <a:solidFill>
                  <a:schemeClr val="tx1">
                    <a:lumMod val="50000"/>
                  </a:schemeClr>
                </a:solidFill>
                <a:latin typeface="+mn-lt"/>
              </a:defRPr>
            </a:lvl1pPr>
          </a:lstStyle>
          <a:p>
            <a:r>
              <a:rPr lang="de-DE" dirty="0"/>
              <a:t>Thomas Kieferle | Innovationswerkstatt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5CC90D94-1694-408E-ACC5-1A98DAEA84E3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26151" y="5707580"/>
            <a:ext cx="3021965" cy="10175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7433097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33FEF4F-8B79-41EE-AB78-33ED69B9B37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01622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133FEF4F-8B79-41EE-AB78-33ED69B9B3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B03FE40-B22A-7341-B28C-28DFD29DF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474663"/>
            <a:ext cx="11160125" cy="318665"/>
          </a:xfrm>
        </p:spPr>
        <p:txBody>
          <a:bodyPr vert="horz"/>
          <a:lstStyle>
            <a:lvl1pPr>
              <a:defRPr lang="de-DE" sz="2800" b="0" kern="1200" dirty="0">
                <a:solidFill>
                  <a:schemeClr val="tx1"/>
                </a:solidFill>
                <a:latin typeface="+mn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Überschrift I Headli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54A3B36-B0FE-C746-9087-319E2EDF7A1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15938" y="1483200"/>
            <a:ext cx="11160125" cy="4345200"/>
          </a:xfrm>
        </p:spPr>
        <p:txBody>
          <a:bodyPr/>
          <a:lstStyle>
            <a:lvl1pPr>
              <a:defRPr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Textplatzhalter 4">
            <a:extLst>
              <a:ext uri="{FF2B5EF4-FFF2-40B4-BE49-F238E27FC236}">
                <a16:creationId xmlns:a16="http://schemas.microsoft.com/office/drawing/2014/main" id="{11FF463F-7FBF-4DC6-8720-3FD91D56436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5938" y="831428"/>
            <a:ext cx="11160000" cy="387798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 dirty="0"/>
              <a:t>Untertitel I </a:t>
            </a:r>
            <a:r>
              <a:rPr lang="de-DE" dirty="0" err="1"/>
              <a:t>Subtitles</a:t>
            </a:r>
            <a:endParaRPr lang="de-DE" dirty="0"/>
          </a:p>
        </p:txBody>
      </p:sp>
      <p:sp>
        <p:nvSpPr>
          <p:cNvPr id="13" name="Foliennummernplatzhalter 5">
            <a:extLst>
              <a:ext uri="{FF2B5EF4-FFF2-40B4-BE49-F238E27FC236}">
                <a16:creationId xmlns:a16="http://schemas.microsoft.com/office/drawing/2014/main" id="{8D4C688C-3055-41E2-8896-2737A0573C3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Nr.›</a:t>
            </a:fld>
            <a:r>
              <a:rPr lang="de-DE" dirty="0">
                <a:solidFill>
                  <a:schemeClr val="accent1"/>
                </a:solidFill>
              </a:rPr>
              <a:t>  </a:t>
            </a:r>
            <a:r>
              <a:rPr lang="de-DE" b="0" dirty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14" name="Fußzeilenplatzhalter 3">
            <a:extLst>
              <a:ext uri="{FF2B5EF4-FFF2-40B4-BE49-F238E27FC236}">
                <a16:creationId xmlns:a16="http://schemas.microsoft.com/office/drawing/2014/main" id="{DBC6C2D0-1056-4181-81F1-C02E4CC91E4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DE" dirty="0"/>
              <a:t>Thomas Kieferle | Innovationswerkstatt</a:t>
            </a:r>
          </a:p>
        </p:txBody>
      </p:sp>
      <p:sp>
        <p:nvSpPr>
          <p:cNvPr id="15" name="Datumsplatzhalter 8">
            <a:extLst>
              <a:ext uri="{FF2B5EF4-FFF2-40B4-BE49-F238E27FC236}">
                <a16:creationId xmlns:a16="http://schemas.microsoft.com/office/drawing/2014/main" id="{96942B6F-6432-449E-93DB-86445774FF7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AB19A4FC-76FE-4B52-A6BC-C4A9405F94A9}" type="datetime1">
              <a:rPr lang="de-DE"/>
              <a:pPr/>
              <a:t>21.04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63678500"/>
      </p:ext>
    </p:extLst>
  </p:cSld>
  <p:clrMapOvr>
    <a:masterClrMapping/>
  </p:clrMapOvr>
  <p:hf sldNum="0"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Überschrift mit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BCD7C520-2B80-4E26-8B78-40EFBE6A97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50326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BCD7C520-2B80-4E26-8B78-40EFBE6A97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4">
            <a:extLst>
              <a:ext uri="{FF2B5EF4-FFF2-40B4-BE49-F238E27FC236}">
                <a16:creationId xmlns:a16="http://schemas.microsoft.com/office/drawing/2014/main" id="{78D6160A-CFC0-3346-A4DF-C308B2C5A1A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5938" y="831428"/>
            <a:ext cx="11160000" cy="387798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 dirty="0"/>
              <a:t>Untertitel I </a:t>
            </a:r>
            <a:r>
              <a:rPr lang="de-DE" dirty="0" err="1"/>
              <a:t>Subtitles</a:t>
            </a:r>
            <a:endParaRPr lang="de-DE" dirty="0"/>
          </a:p>
        </p:txBody>
      </p:sp>
      <p:sp>
        <p:nvSpPr>
          <p:cNvPr id="14" name="Foliennummernplatzhalter 5">
            <a:extLst>
              <a:ext uri="{FF2B5EF4-FFF2-40B4-BE49-F238E27FC236}">
                <a16:creationId xmlns:a16="http://schemas.microsoft.com/office/drawing/2014/main" id="{823985D0-4F3A-4F8D-ACB8-C2D8748D710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Nr.›</a:t>
            </a:fld>
            <a:r>
              <a:rPr lang="de-DE" dirty="0">
                <a:solidFill>
                  <a:schemeClr val="accent1"/>
                </a:solidFill>
              </a:rPr>
              <a:t>  </a:t>
            </a:r>
            <a:r>
              <a:rPr lang="de-DE" b="0" dirty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15" name="Fußzeilenplatzhalter 3">
            <a:extLst>
              <a:ext uri="{FF2B5EF4-FFF2-40B4-BE49-F238E27FC236}">
                <a16:creationId xmlns:a16="http://schemas.microsoft.com/office/drawing/2014/main" id="{DD2F819B-3D0D-4E9C-B6A3-323FEE2D96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DE" dirty="0"/>
              <a:t>Thomas Kieferle | Innovationswerkstatt</a:t>
            </a:r>
          </a:p>
        </p:txBody>
      </p:sp>
      <p:sp>
        <p:nvSpPr>
          <p:cNvPr id="16" name="Datumsplatzhalter 8">
            <a:extLst>
              <a:ext uri="{FF2B5EF4-FFF2-40B4-BE49-F238E27FC236}">
                <a16:creationId xmlns:a16="http://schemas.microsoft.com/office/drawing/2014/main" id="{D0448C96-C7A5-4D51-ADCB-AC08FC3B747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AB19A4FC-76FE-4B52-A6BC-C4A9405F94A9}" type="datetime1">
              <a:rPr lang="de-DE"/>
              <a:pPr/>
              <a:t>21.04.2023</a:t>
            </a:fld>
            <a:endParaRPr lang="de-DE" dirty="0"/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405AEC9C-974A-4A12-A4A1-F9CC2FA812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340234"/>
            <a:ext cx="11160125" cy="491194"/>
          </a:xfrm>
        </p:spPr>
        <p:txBody>
          <a:bodyPr vert="horz"/>
          <a:lstStyle>
            <a:lvl1pPr>
              <a:defRPr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Überschrift I Headline</a:t>
            </a:r>
          </a:p>
        </p:txBody>
      </p:sp>
    </p:spTree>
    <p:extLst>
      <p:ext uri="{BB962C8B-B14F-4D97-AF65-F5344CB8AC3E}">
        <p14:creationId xmlns:p14="http://schemas.microsoft.com/office/powerpoint/2010/main" val="686362927"/>
      </p:ext>
    </p:extLst>
  </p:cSld>
  <p:clrMapOvr>
    <a:masterClrMapping/>
  </p:clrMapOvr>
  <p:hf sldNum="0"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folie_Blank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liennummernplatzhalter 5">
            <a:extLst>
              <a:ext uri="{FF2B5EF4-FFF2-40B4-BE49-F238E27FC236}">
                <a16:creationId xmlns:a16="http://schemas.microsoft.com/office/drawing/2014/main" id="{EDC1379C-8CED-41CA-8430-72D9E90D71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Nr.›</a:t>
            </a:fld>
            <a:r>
              <a:rPr lang="de-DE" dirty="0">
                <a:solidFill>
                  <a:schemeClr val="accent1"/>
                </a:solidFill>
              </a:rPr>
              <a:t>  </a:t>
            </a:r>
            <a:r>
              <a:rPr lang="de-DE" b="0" dirty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12" name="Fußzeilenplatzhalter 3">
            <a:extLst>
              <a:ext uri="{FF2B5EF4-FFF2-40B4-BE49-F238E27FC236}">
                <a16:creationId xmlns:a16="http://schemas.microsoft.com/office/drawing/2014/main" id="{3B797276-7B97-44E6-80A7-8A978EF2664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DE" dirty="0"/>
              <a:t>Thomas Kieferle | Innovationswerkstatt</a:t>
            </a:r>
          </a:p>
        </p:txBody>
      </p:sp>
      <p:sp>
        <p:nvSpPr>
          <p:cNvPr id="13" name="Datumsplatzhalter 8">
            <a:extLst>
              <a:ext uri="{FF2B5EF4-FFF2-40B4-BE49-F238E27FC236}">
                <a16:creationId xmlns:a16="http://schemas.microsoft.com/office/drawing/2014/main" id="{5892E75D-6086-44ED-A3F2-C52076A2B07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AB19A4FC-76FE-4B52-A6BC-C4A9405F94A9}" type="datetime1">
              <a:rPr lang="de-DE"/>
              <a:pPr/>
              <a:t>21.04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52585595"/>
      </p:ext>
    </p:extLst>
  </p:cSld>
  <p:clrMapOvr>
    <a:masterClrMapping/>
  </p:clrMapOvr>
  <p:hf sldNum="0"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:1 Bild-Text ohne Hinter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6A2C08B9-AEF0-4978-B065-A228A3077D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086468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6" progId="TCLayout.ActiveDocument.1">
                  <p:embed/>
                </p:oleObj>
              </mc:Choice>
              <mc:Fallback>
                <p:oleObj name="think-cell Folie" r:id="rId3" imgW="347" imgH="34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6A2C08B9-AEF0-4978-B065-A228A3077D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Bildplatzhalter 2">
            <a:extLst>
              <a:ext uri="{FF2B5EF4-FFF2-40B4-BE49-F238E27FC236}">
                <a16:creationId xmlns:a16="http://schemas.microsoft.com/office/drawing/2014/main" id="{AC9107A1-72E3-1644-8027-D7B089F5146B}"/>
              </a:ext>
            </a:extLst>
          </p:cNvPr>
          <p:cNvSpPr>
            <a:spLocks noGrp="1"/>
          </p:cNvSpPr>
          <p:nvPr>
            <p:ph type="pic" idx="19"/>
          </p:nvPr>
        </p:nvSpPr>
        <p:spPr>
          <a:xfrm>
            <a:off x="0" y="1"/>
            <a:ext cx="5664200" cy="6858000"/>
          </a:xfrm>
          <a:solidFill>
            <a:schemeClr val="accent2"/>
          </a:solidFill>
        </p:spPr>
        <p:txBody>
          <a:bodyPr anchor="ctr"/>
          <a:lstStyle>
            <a:lvl1pPr marL="0" indent="0" algn="ctr">
              <a:buNone/>
              <a:defRPr sz="2000" b="0">
                <a:solidFill>
                  <a:schemeClr val="bg1">
                    <a:lumMod val="65000"/>
                  </a:schemeClr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6" name="Titel 1">
            <a:extLst>
              <a:ext uri="{FF2B5EF4-FFF2-40B4-BE49-F238E27FC236}">
                <a16:creationId xmlns:a16="http://schemas.microsoft.com/office/drawing/2014/main" id="{C3864067-953C-644E-BB2F-9707B5D6D52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03524" y="333375"/>
            <a:ext cx="5510856" cy="647700"/>
          </a:xfrm>
        </p:spPr>
        <p:txBody>
          <a:bodyPr vert="horz" anchor="t"/>
          <a:lstStyle>
            <a:lvl1pPr algn="l">
              <a:lnSpc>
                <a:spcPct val="100000"/>
              </a:lnSpc>
              <a:defRPr sz="2800" b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Überschrift I Headline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DD003BDC-D64F-C349-9E09-52BB53F4D9FF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6085915" y="1530628"/>
            <a:ext cx="5528466" cy="384460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7F5FA6DA-3ED9-534E-8A19-DA2C8DE56A77}"/>
              </a:ext>
            </a:extLst>
          </p:cNvPr>
          <p:cNvSpPr>
            <a:spLocks noGrp="1"/>
          </p:cNvSpPr>
          <p:nvPr>
            <p:ph type="body" idx="11"/>
          </p:nvPr>
        </p:nvSpPr>
        <p:spPr>
          <a:xfrm>
            <a:off x="6085915" y="3793766"/>
            <a:ext cx="5528466" cy="384460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" name="Textplatzhalter 2">
            <a:extLst>
              <a:ext uri="{FF2B5EF4-FFF2-40B4-BE49-F238E27FC236}">
                <a16:creationId xmlns:a16="http://schemas.microsoft.com/office/drawing/2014/main" id="{C959BF03-5949-4783-91F7-72F3EB1F27E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86683" y="2017790"/>
            <a:ext cx="5511571" cy="13137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539750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717550" indent="-177800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1" name="Textplatzhalter 2">
            <a:extLst>
              <a:ext uri="{FF2B5EF4-FFF2-40B4-BE49-F238E27FC236}">
                <a16:creationId xmlns:a16="http://schemas.microsoft.com/office/drawing/2014/main" id="{1789210D-C9B4-49FA-9612-E029C3523EA7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103523" y="4327268"/>
            <a:ext cx="5511571" cy="13137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539750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717550" indent="-177800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2" name="Foliennummernplatzhalter 5">
            <a:extLst>
              <a:ext uri="{FF2B5EF4-FFF2-40B4-BE49-F238E27FC236}">
                <a16:creationId xmlns:a16="http://schemas.microsoft.com/office/drawing/2014/main" id="{E6C3D5C7-6C25-4745-BF31-C511F59A2EC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116638" y="6323015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Nr.›</a:t>
            </a:fld>
            <a:r>
              <a:rPr lang="de-DE" dirty="0">
                <a:solidFill>
                  <a:schemeClr val="accent1"/>
                </a:solidFill>
              </a:rPr>
              <a:t>  </a:t>
            </a:r>
            <a:r>
              <a:rPr lang="de-DE" b="0" dirty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13" name="Fußzeilenplatzhalter 3">
            <a:extLst>
              <a:ext uri="{FF2B5EF4-FFF2-40B4-BE49-F238E27FC236}">
                <a16:creationId xmlns:a16="http://schemas.microsoft.com/office/drawing/2014/main" id="{CA0514DA-B83B-43CA-831A-887FA1B6C04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97361" y="6323016"/>
            <a:ext cx="2870369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DE"/>
              <a:t>Jeanette Thumm Update Empower</a:t>
            </a:r>
            <a:endParaRPr lang="de-DE" dirty="0"/>
          </a:p>
        </p:txBody>
      </p:sp>
      <p:sp>
        <p:nvSpPr>
          <p:cNvPr id="14" name="Datumsplatzhalter 8">
            <a:extLst>
              <a:ext uri="{FF2B5EF4-FFF2-40B4-BE49-F238E27FC236}">
                <a16:creationId xmlns:a16="http://schemas.microsoft.com/office/drawing/2014/main" id="{7FEC9BB5-BB03-4D9C-84E4-F96931FFA5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03174" y="6326191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AB19A4FC-76FE-4B52-A6BC-C4A9405F94A9}" type="datetime1">
              <a:rPr lang="de-DE"/>
              <a:pPr/>
              <a:t>21.04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05119036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3568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x Bilder links + Textbaustein ohne Hinter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19A594C-56E4-440E-AAB5-539DD10781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996134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6" progId="TCLayout.ActiveDocument.1">
                  <p:embed/>
                </p:oleObj>
              </mc:Choice>
              <mc:Fallback>
                <p:oleObj name="think-cell Folie" r:id="rId3" imgW="347" imgH="34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19A594C-56E4-440E-AAB5-539DD10781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 15">
            <a:extLst>
              <a:ext uri="{FF2B5EF4-FFF2-40B4-BE49-F238E27FC236}">
                <a16:creationId xmlns:a16="http://schemas.microsoft.com/office/drawing/2014/main" id="{327D00DF-9EDC-41CE-BFD9-C2C6C9E53162}"/>
              </a:ext>
            </a:extLst>
          </p:cNvPr>
          <p:cNvSpPr/>
          <p:nvPr userDrawn="1"/>
        </p:nvSpPr>
        <p:spPr>
          <a:xfrm>
            <a:off x="0" y="0"/>
            <a:ext cx="300038" cy="28892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err="1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EDC4A3E0-6C0D-EB4D-833B-5856DFA8AEE6}"/>
              </a:ext>
            </a:extLst>
          </p:cNvPr>
          <p:cNvSpPr/>
          <p:nvPr userDrawn="1"/>
        </p:nvSpPr>
        <p:spPr>
          <a:xfrm>
            <a:off x="0" y="0"/>
            <a:ext cx="752559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" name="Bildplatzhalter 2">
            <a:extLst>
              <a:ext uri="{FF2B5EF4-FFF2-40B4-BE49-F238E27FC236}">
                <a16:creationId xmlns:a16="http://schemas.microsoft.com/office/drawing/2014/main" id="{6FAD938C-AD49-F544-BA01-63F44E5FECFA}"/>
              </a:ext>
            </a:extLst>
          </p:cNvPr>
          <p:cNvSpPr>
            <a:spLocks noGrp="1"/>
          </p:cNvSpPr>
          <p:nvPr>
            <p:ph type="pic" idx="19"/>
          </p:nvPr>
        </p:nvSpPr>
        <p:spPr>
          <a:xfrm>
            <a:off x="0" y="0"/>
            <a:ext cx="5664200" cy="3429000"/>
          </a:xfrm>
          <a:solidFill>
            <a:schemeClr val="accent2"/>
          </a:solidFill>
        </p:spPr>
        <p:txBody>
          <a:bodyPr anchor="ctr"/>
          <a:lstStyle>
            <a:lvl1pPr marL="0" indent="0" algn="ctr">
              <a:buNone/>
              <a:defRPr sz="2000" b="0">
                <a:solidFill>
                  <a:schemeClr val="bg1">
                    <a:lumMod val="65000"/>
                  </a:schemeClr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9" name="Bildplatzhalter 2">
            <a:extLst>
              <a:ext uri="{FF2B5EF4-FFF2-40B4-BE49-F238E27FC236}">
                <a16:creationId xmlns:a16="http://schemas.microsoft.com/office/drawing/2014/main" id="{F55CC908-F16A-274A-B039-6DBD18AB914D}"/>
              </a:ext>
            </a:extLst>
          </p:cNvPr>
          <p:cNvSpPr>
            <a:spLocks noGrp="1"/>
          </p:cNvSpPr>
          <p:nvPr>
            <p:ph type="pic" idx="20"/>
          </p:nvPr>
        </p:nvSpPr>
        <p:spPr>
          <a:xfrm>
            <a:off x="0" y="3429000"/>
            <a:ext cx="5664200" cy="3429000"/>
          </a:xfrm>
          <a:solidFill>
            <a:schemeClr val="accent2"/>
          </a:solidFill>
        </p:spPr>
        <p:txBody>
          <a:bodyPr anchor="ctr"/>
          <a:lstStyle>
            <a:lvl1pPr marL="0" indent="0" algn="ctr">
              <a:buNone/>
              <a:defRPr sz="2000" b="0">
                <a:solidFill>
                  <a:schemeClr val="bg1">
                    <a:lumMod val="65000"/>
                  </a:schemeClr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cxnSp>
        <p:nvCxnSpPr>
          <p:cNvPr id="20" name="Gerade Verbindung 19">
            <a:extLst>
              <a:ext uri="{FF2B5EF4-FFF2-40B4-BE49-F238E27FC236}">
                <a16:creationId xmlns:a16="http://schemas.microsoft.com/office/drawing/2014/main" id="{C603A484-4D38-5B4B-A2A0-E0BD4B4E03FC}"/>
              </a:ext>
            </a:extLst>
          </p:cNvPr>
          <p:cNvCxnSpPr>
            <a:cxnSpLocks/>
          </p:cNvCxnSpPr>
          <p:nvPr userDrawn="1"/>
        </p:nvCxnSpPr>
        <p:spPr>
          <a:xfrm flipH="1">
            <a:off x="-14139" y="3429000"/>
            <a:ext cx="575762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el 1">
            <a:extLst>
              <a:ext uri="{FF2B5EF4-FFF2-40B4-BE49-F238E27FC236}">
                <a16:creationId xmlns:a16="http://schemas.microsoft.com/office/drawing/2014/main" id="{8654251A-3CCD-A24E-8979-624593CB2EA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413860" y="285032"/>
            <a:ext cx="5300638" cy="793523"/>
          </a:xfrm>
        </p:spPr>
        <p:txBody>
          <a:bodyPr vert="horz" anchor="t"/>
          <a:lstStyle>
            <a:lvl1pPr algn="l">
              <a:lnSpc>
                <a:spcPct val="100000"/>
              </a:lnSpc>
              <a:defRPr sz="2800" b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Überschrift I Headline</a:t>
            </a:r>
          </a:p>
        </p:txBody>
      </p:sp>
      <p:sp>
        <p:nvSpPr>
          <p:cNvPr id="14" name="Textplatzhalter 2">
            <a:extLst>
              <a:ext uri="{FF2B5EF4-FFF2-40B4-BE49-F238E27FC236}">
                <a16:creationId xmlns:a16="http://schemas.microsoft.com/office/drawing/2014/main" id="{B820B7BB-4FC3-EB4C-B3DB-67A28E98C77A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6414575" y="1525771"/>
            <a:ext cx="5277133" cy="498648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3813661B-2175-A444-B7DE-8B0371A27277}"/>
              </a:ext>
            </a:extLst>
          </p:cNvPr>
          <p:cNvSpPr>
            <a:spLocks noGrp="1"/>
          </p:cNvSpPr>
          <p:nvPr>
            <p:ph type="body" idx="11"/>
          </p:nvPr>
        </p:nvSpPr>
        <p:spPr>
          <a:xfrm>
            <a:off x="6414575" y="3896141"/>
            <a:ext cx="5277133" cy="391416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4" name="Textplatzhalter 2">
            <a:extLst>
              <a:ext uri="{FF2B5EF4-FFF2-40B4-BE49-F238E27FC236}">
                <a16:creationId xmlns:a16="http://schemas.microsoft.com/office/drawing/2014/main" id="{766EC86B-CFB4-4A90-A302-82ADE46E921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33676" y="2155035"/>
            <a:ext cx="5261006" cy="13137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357188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536575" indent="-179388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EFD10ABA-461E-4505-AA85-13D7BCE5C2C9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6423675" y="4417187"/>
            <a:ext cx="5261006" cy="13137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357188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536575" indent="-179388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29" name="Foliennummernplatzhalter 5">
            <a:extLst>
              <a:ext uri="{FF2B5EF4-FFF2-40B4-BE49-F238E27FC236}">
                <a16:creationId xmlns:a16="http://schemas.microsoft.com/office/drawing/2014/main" id="{582C89E3-815E-49D3-8AEC-F4E35FEF38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116638" y="6323015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Nr.›</a:t>
            </a:fld>
            <a:r>
              <a:rPr lang="de-DE" dirty="0">
                <a:solidFill>
                  <a:schemeClr val="accent1"/>
                </a:solidFill>
              </a:rPr>
              <a:t>  </a:t>
            </a:r>
            <a:r>
              <a:rPr lang="de-DE" b="0" dirty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30" name="Fußzeilenplatzhalter 3">
            <a:extLst>
              <a:ext uri="{FF2B5EF4-FFF2-40B4-BE49-F238E27FC236}">
                <a16:creationId xmlns:a16="http://schemas.microsoft.com/office/drawing/2014/main" id="{2A8504A7-0A5A-40BE-8AFC-C8FF122450A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97361" y="6323016"/>
            <a:ext cx="2870369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DE"/>
              <a:t>Jeanette Thumm Update Empower</a:t>
            </a:r>
            <a:endParaRPr lang="de-DE" dirty="0"/>
          </a:p>
        </p:txBody>
      </p:sp>
      <p:sp>
        <p:nvSpPr>
          <p:cNvPr id="31" name="Datumsplatzhalter 8">
            <a:extLst>
              <a:ext uri="{FF2B5EF4-FFF2-40B4-BE49-F238E27FC236}">
                <a16:creationId xmlns:a16="http://schemas.microsoft.com/office/drawing/2014/main" id="{9AB4B1FB-4818-4EBC-9655-8FF3990886A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03174" y="6326191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AB19A4FC-76FE-4B52-A6BC-C4A9405F94A9}" type="datetime1">
              <a:rPr lang="de-DE"/>
              <a:pPr/>
              <a:t>21.04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30975664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3568">
          <p15:clr>
            <a:srgbClr val="FBAE40"/>
          </p15:clr>
        </p15:guide>
        <p15:guide id="2" orient="horz" pos="191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15235528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1" imgW="353" imgH="353" progId="TCLayout.ActiveDocument.1">
                  <p:embed/>
                </p:oleObj>
              </mc:Choice>
              <mc:Fallback>
                <p:oleObj name="think-cell Folie" r:id="rId31" imgW="353" imgH="353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7EE5D475-DF19-4144-995E-F7C3970B86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512763"/>
            <a:ext cx="11160125" cy="8683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3A34782-E3A2-CF42-9904-29EE5398AD9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5938" y="1483200"/>
            <a:ext cx="11160125" cy="434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F3E9BB6-5D8A-8147-AD61-F2C10BA132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3534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/>
              <a:pPr/>
              <a:t>‹Nr.›</a:t>
            </a:fld>
            <a:r>
              <a:rPr lang="de-DE" dirty="0"/>
              <a:t>  |</a:t>
            </a:r>
            <a:endParaRPr lang="de-DE" sz="90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983328E-748D-3F4E-9827-CEDBAE65A3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94747" y="6356349"/>
            <a:ext cx="2743200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cs typeface="Arial" panose="020B0604020202020204" pitchFamily="34" charset="0"/>
              </a:defRPr>
            </a:lvl1pPr>
          </a:lstStyle>
          <a:p>
            <a:r>
              <a:rPr lang="de-DE" dirty="0"/>
              <a:t>Thomas Kieferle | Innovationswerkstatt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9DB09A8C-0A47-46B9-974A-D9A1F4E4F2A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85930" y="6356349"/>
            <a:ext cx="655495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fld id="{73B8A5C4-6BDB-4ACF-8BA9-7078118229D4}" type="datetime1">
              <a:rPr lang="de-DE"/>
              <a:pPr/>
              <a:t>21.04.2023</a:t>
            </a:fld>
            <a:r>
              <a:rPr lang="de-DE" dirty="0"/>
              <a:t> I</a:t>
            </a:r>
          </a:p>
        </p:txBody>
      </p:sp>
      <p:sp>
        <p:nvSpPr>
          <p:cNvPr id="8" name="empower - DO NOT DELETE!!!" hidden="1">
            <a:extLst>
              <a:ext uri="{FF2B5EF4-FFF2-40B4-BE49-F238E27FC236}">
                <a16:creationId xmlns:a16="http://schemas.microsoft.com/office/drawing/2014/main" id="{3B045111-8DB6-4E89-8ACE-F9267DF8EF55}"/>
              </a:ext>
            </a:extLst>
          </p:cNvPr>
          <p:cNvSpPr/>
          <p:nvPr>
            <p:custDataLst>
              <p:tags r:id="rId30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lvl="0" algn="ctr"/>
            <a:endParaRPr lang="de-DE" dirty="0" err="1"/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DC28AA3B-B076-4FC3-86A9-1B6A560113CC}"/>
              </a:ext>
            </a:extLst>
          </p:cNvPr>
          <p:cNvPicPr>
            <a:picLocks noChangeAspect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69826" y="6048375"/>
            <a:ext cx="1817476" cy="611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85920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  <p:sldLayoutId id="2147483708" r:id="rId12"/>
    <p:sldLayoutId id="2147483709" r:id="rId13"/>
    <p:sldLayoutId id="2147483710" r:id="rId14"/>
    <p:sldLayoutId id="2147483711" r:id="rId15"/>
    <p:sldLayoutId id="2147483712" r:id="rId16"/>
    <p:sldLayoutId id="2147483713" r:id="rId17"/>
    <p:sldLayoutId id="2147483714" r:id="rId18"/>
    <p:sldLayoutId id="2147483715" r:id="rId19"/>
    <p:sldLayoutId id="2147483716" r:id="rId20"/>
    <p:sldLayoutId id="2147483717" r:id="rId21"/>
    <p:sldLayoutId id="2147483718" r:id="rId22"/>
    <p:sldLayoutId id="2147483719" r:id="rId23"/>
    <p:sldLayoutId id="2147483720" r:id="rId24"/>
    <p:sldLayoutId id="2147483721" r:id="rId25"/>
    <p:sldLayoutId id="2147483722" r:id="rId26"/>
    <p:sldLayoutId id="2147483723" r:id="rId27"/>
  </p:sldLayoutIdLst>
  <p:hf hdr="0"/>
  <p:txStyles>
    <p:titleStyle>
      <a:lvl1pPr algn="l" defTabSz="914355" rtl="0" eaLnBrk="1" latinLnBrk="0" hangingPunct="1">
        <a:lnSpc>
          <a:spcPct val="90000"/>
        </a:lnSpc>
        <a:spcBef>
          <a:spcPct val="0"/>
        </a:spcBef>
        <a:buNone/>
        <a:defRPr sz="2800" b="0" kern="1200">
          <a:solidFill>
            <a:schemeClr val="tx1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0" indent="0" algn="l" defTabSz="914355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600" b="1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0" indent="0" algn="l" defTabSz="914355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accent1"/>
        </a:buClr>
        <a:buFont typeface="Wingdings" pitchFamily="2" charset="2"/>
        <a:buNone/>
        <a:defRPr sz="1600" b="0" i="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216000" indent="-216000" algn="l" defTabSz="914355" rtl="0" eaLnBrk="1" latinLnBrk="0" hangingPunct="1">
        <a:lnSpc>
          <a:spcPct val="100000"/>
        </a:lnSpc>
        <a:spcBef>
          <a:spcPts val="600"/>
        </a:spcBef>
        <a:buClrTx/>
        <a:buFont typeface="Wingdings" pitchFamily="2" charset="2"/>
        <a:buChar char="§"/>
        <a:defRPr sz="1600" b="0" i="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432000" indent="-216000" algn="l" defTabSz="914355" rtl="0" eaLnBrk="1" latinLnBrk="0" hangingPunct="1">
        <a:lnSpc>
          <a:spcPct val="100000"/>
        </a:lnSpc>
        <a:spcBef>
          <a:spcPts val="600"/>
        </a:spcBef>
        <a:buClrTx/>
        <a:buFont typeface="Wingdings" pitchFamily="2" charset="2"/>
        <a:buChar char="§"/>
        <a:defRPr sz="1600" b="0" i="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648000" indent="-216000" algn="l" defTabSz="914355" rtl="0" eaLnBrk="1" latinLnBrk="0" hangingPunct="1">
        <a:lnSpc>
          <a:spcPct val="100000"/>
        </a:lnSpc>
        <a:spcBef>
          <a:spcPts val="600"/>
        </a:spcBef>
        <a:buClrTx/>
        <a:buFont typeface="Wingdings" pitchFamily="2" charset="2"/>
        <a:buChar char="§"/>
        <a:defRPr sz="1600" b="0" i="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864000" indent="-216000" algn="l" defTabSz="914355" rtl="0" eaLnBrk="1" latinLnBrk="0" hangingPunct="1">
        <a:lnSpc>
          <a:spcPct val="90000"/>
        </a:lnSpc>
        <a:spcBef>
          <a:spcPts val="600"/>
        </a:spcBef>
        <a:buClrTx/>
        <a:buFont typeface="Wingdings" pitchFamily="2" charset="2"/>
        <a:buChar char="§"/>
        <a:defRPr lang="de-DE" sz="1600" b="0" i="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0000" indent="-216000" algn="l" defTabSz="914355" rtl="0" eaLnBrk="1" latinLnBrk="0" hangingPunct="1">
        <a:lnSpc>
          <a:spcPct val="100000"/>
        </a:lnSpc>
        <a:spcBef>
          <a:spcPts val="600"/>
        </a:spcBef>
        <a:buClrTx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296000" indent="-216000" algn="l" defTabSz="914355" rtl="0" eaLnBrk="1" latinLnBrk="0" hangingPunct="1">
        <a:lnSpc>
          <a:spcPct val="100000"/>
        </a:lnSpc>
        <a:spcBef>
          <a:spcPts val="600"/>
        </a:spcBef>
        <a:buClrTx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1512000" indent="-216000" algn="l" defTabSz="914355" rtl="0" eaLnBrk="1" latinLnBrk="0" hangingPunct="1">
        <a:lnSpc>
          <a:spcPct val="100000"/>
        </a:lnSpc>
        <a:spcBef>
          <a:spcPts val="600"/>
        </a:spcBef>
        <a:buClrTx/>
        <a:buFont typeface="Wingdings" panose="05000000000000000000" pitchFamily="2" charset="2"/>
        <a:buChar char="§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5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3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7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2">
          <p15:clr>
            <a:srgbClr val="F26B43"/>
          </p15:clr>
        </p15:guide>
        <p15:guide id="2" pos="325">
          <p15:clr>
            <a:srgbClr val="F26B43"/>
          </p15:clr>
        </p15:guide>
        <p15:guide id="3" orient="horz" pos="4137">
          <p15:clr>
            <a:srgbClr val="F26B43"/>
          </p15:clr>
        </p15:guide>
        <p15:guide id="4" pos="7491">
          <p15:clr>
            <a:srgbClr val="F26B43"/>
          </p15:clr>
        </p15:guide>
        <p15:guide id="6" pos="189">
          <p15:clr>
            <a:srgbClr val="F26B43"/>
          </p15:clr>
        </p15:guide>
        <p15:guide id="7" orient="horz" pos="323">
          <p15:clr>
            <a:srgbClr val="F26B43"/>
          </p15:clr>
        </p15:guide>
        <p15:guide id="8" orient="horz" pos="3997">
          <p15:clr>
            <a:srgbClr val="F26B43"/>
          </p15:clr>
        </p15:guide>
        <p15:guide id="9" pos="7355">
          <p15:clr>
            <a:srgbClr val="F26B43"/>
          </p15:clr>
        </p15:guide>
        <p15:guide id="10" orient="horz" pos="935">
          <p15:clr>
            <a:srgbClr val="F26B43"/>
          </p15:clr>
        </p15:guide>
        <p15:guide id="12" orient="horz" pos="367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7.xml"/><Relationship Id="rId4" Type="http://schemas.openxmlformats.org/officeDocument/2006/relationships/image" Target="../media/image10.jp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.xml"/><Relationship Id="rId13" Type="http://schemas.openxmlformats.org/officeDocument/2006/relationships/image" Target="../media/image55.png"/><Relationship Id="rId18" Type="http://schemas.openxmlformats.org/officeDocument/2006/relationships/image" Target="../media/image59.jpeg"/><Relationship Id="rId3" Type="http://schemas.openxmlformats.org/officeDocument/2006/relationships/tags" Target="../tags/tag31.xml"/><Relationship Id="rId21" Type="http://schemas.openxmlformats.org/officeDocument/2006/relationships/image" Target="../media/image62.jpeg"/><Relationship Id="rId7" Type="http://schemas.openxmlformats.org/officeDocument/2006/relationships/tags" Target="../tags/tag35.xml"/><Relationship Id="rId12" Type="http://schemas.openxmlformats.org/officeDocument/2006/relationships/image" Target="../media/image54.jpeg"/><Relationship Id="rId17" Type="http://schemas.openxmlformats.org/officeDocument/2006/relationships/image" Target="../media/image58.png"/><Relationship Id="rId2" Type="http://schemas.openxmlformats.org/officeDocument/2006/relationships/tags" Target="../tags/tag30.xml"/><Relationship Id="rId16" Type="http://schemas.microsoft.com/office/2007/relationships/hdphoto" Target="../media/hdphoto3.wdp"/><Relationship Id="rId20" Type="http://schemas.openxmlformats.org/officeDocument/2006/relationships/image" Target="../media/image61.jpeg"/><Relationship Id="rId1" Type="http://schemas.openxmlformats.org/officeDocument/2006/relationships/tags" Target="../tags/tag29.xml"/><Relationship Id="rId6" Type="http://schemas.openxmlformats.org/officeDocument/2006/relationships/tags" Target="../tags/tag34.xml"/><Relationship Id="rId11" Type="http://schemas.openxmlformats.org/officeDocument/2006/relationships/image" Target="../media/image53.jpeg"/><Relationship Id="rId5" Type="http://schemas.openxmlformats.org/officeDocument/2006/relationships/tags" Target="../tags/tag33.xml"/><Relationship Id="rId15" Type="http://schemas.openxmlformats.org/officeDocument/2006/relationships/image" Target="../media/image57.png"/><Relationship Id="rId23" Type="http://schemas.openxmlformats.org/officeDocument/2006/relationships/image" Target="../media/image64.jpeg"/><Relationship Id="rId10" Type="http://schemas.openxmlformats.org/officeDocument/2006/relationships/image" Target="../media/image52.jpeg"/><Relationship Id="rId19" Type="http://schemas.openxmlformats.org/officeDocument/2006/relationships/image" Target="../media/image60.png"/><Relationship Id="rId4" Type="http://schemas.openxmlformats.org/officeDocument/2006/relationships/tags" Target="../tags/tag32.xml"/><Relationship Id="rId9" Type="http://schemas.openxmlformats.org/officeDocument/2006/relationships/notesSlide" Target="../notesSlides/notesSlide9.xml"/><Relationship Id="rId14" Type="http://schemas.openxmlformats.org/officeDocument/2006/relationships/image" Target="../media/image56.png"/><Relationship Id="rId22" Type="http://schemas.openxmlformats.org/officeDocument/2006/relationships/image" Target="../media/image63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67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68.jpe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2.jpeg"/><Relationship Id="rId7" Type="http://schemas.openxmlformats.org/officeDocument/2006/relationships/image" Target="../media/image16.sv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5.png"/><Relationship Id="rId5" Type="http://schemas.openxmlformats.org/officeDocument/2006/relationships/image" Target="../media/image14.jpeg"/><Relationship Id="rId4" Type="http://schemas.openxmlformats.org/officeDocument/2006/relationships/image" Target="../media/image13.png"/><Relationship Id="rId9" Type="http://schemas.openxmlformats.org/officeDocument/2006/relationships/image" Target="../media/image18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8.xml"/><Relationship Id="rId4" Type="http://schemas.openxmlformats.org/officeDocument/2006/relationships/image" Target="../media/image19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image" Target="../media/image20.png"/><Relationship Id="rId7" Type="http://schemas.openxmlformats.org/officeDocument/2006/relationships/image" Target="../media/image24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3.jpeg"/><Relationship Id="rId11" Type="http://schemas.openxmlformats.org/officeDocument/2006/relationships/image" Target="../media/image28.jpeg"/><Relationship Id="rId5" Type="http://schemas.openxmlformats.org/officeDocument/2006/relationships/image" Target="../media/image22.jpeg"/><Relationship Id="rId10" Type="http://schemas.openxmlformats.org/officeDocument/2006/relationships/image" Target="../media/image27.jpeg"/><Relationship Id="rId4" Type="http://schemas.openxmlformats.org/officeDocument/2006/relationships/image" Target="../media/image21.png"/><Relationship Id="rId9" Type="http://schemas.openxmlformats.org/officeDocument/2006/relationships/image" Target="../media/image26.sv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2.jpeg"/><Relationship Id="rId5" Type="http://schemas.openxmlformats.org/officeDocument/2006/relationships/image" Target="../media/image31.jpeg"/><Relationship Id="rId4" Type="http://schemas.openxmlformats.org/officeDocument/2006/relationships/image" Target="../media/image30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jpeg"/><Relationship Id="rId3" Type="http://schemas.openxmlformats.org/officeDocument/2006/relationships/image" Target="../media/image33.jpeg"/><Relationship Id="rId7" Type="http://schemas.openxmlformats.org/officeDocument/2006/relationships/image" Target="../media/image37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image" Target="../media/image34.jpeg"/><Relationship Id="rId9" Type="http://schemas.openxmlformats.org/officeDocument/2006/relationships/image" Target="../media/image39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13" Type="http://schemas.openxmlformats.org/officeDocument/2006/relationships/image" Target="../media/image48.png"/><Relationship Id="rId3" Type="http://schemas.openxmlformats.org/officeDocument/2006/relationships/image" Target="../media/image40.png"/><Relationship Id="rId7" Type="http://schemas.microsoft.com/office/2007/relationships/hdphoto" Target="../media/hdphoto2.wdp"/><Relationship Id="rId12" Type="http://schemas.openxmlformats.org/officeDocument/2006/relationships/image" Target="../media/image47.png"/><Relationship Id="rId2" Type="http://schemas.openxmlformats.org/officeDocument/2006/relationships/notesSlide" Target="../notesSlides/notesSlide8.xml"/><Relationship Id="rId16" Type="http://schemas.openxmlformats.org/officeDocument/2006/relationships/image" Target="../media/image51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42.png"/><Relationship Id="rId11" Type="http://schemas.openxmlformats.org/officeDocument/2006/relationships/image" Target="../media/image46.png"/><Relationship Id="rId5" Type="http://schemas.openxmlformats.org/officeDocument/2006/relationships/image" Target="../media/image41.png"/><Relationship Id="rId15" Type="http://schemas.openxmlformats.org/officeDocument/2006/relationships/image" Target="../media/image50.png"/><Relationship Id="rId10" Type="http://schemas.openxmlformats.org/officeDocument/2006/relationships/image" Target="../media/image45.png"/><Relationship Id="rId4" Type="http://schemas.microsoft.com/office/2007/relationships/hdphoto" Target="../media/hdphoto1.wdp"/><Relationship Id="rId9" Type="http://schemas.openxmlformats.org/officeDocument/2006/relationships/image" Target="../media/image44.png"/><Relationship Id="rId14" Type="http://schemas.openxmlformats.org/officeDocument/2006/relationships/image" Target="../media/image4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Untertitel 8">
            <a:extLst>
              <a:ext uri="{FF2B5EF4-FFF2-40B4-BE49-F238E27FC236}">
                <a16:creationId xmlns:a16="http://schemas.microsoft.com/office/drawing/2014/main" id="{04C97DCD-AC7B-4334-9D8A-7B164208EC3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/>
        <p:txBody>
          <a:bodyPr/>
          <a:lstStyle/>
          <a:p>
            <a:r>
              <a:rPr lang="de-DE" dirty="0"/>
              <a:t>Lean Lernreise 2023 Hettingen | Fabrik mit Zukunft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BE73BC0-C76D-41AE-8790-1746CD3812D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00038" y="4537159"/>
            <a:ext cx="5075526" cy="1064355"/>
          </a:xfrm>
        </p:spPr>
        <p:txBody>
          <a:bodyPr/>
          <a:lstStyle/>
          <a:p>
            <a:r>
              <a:rPr lang="de-DE" sz="2800" dirty="0"/>
              <a:t>Vorstellung der internen LMF Serienbauteilfindung und Fertigung</a:t>
            </a:r>
            <a:endParaRPr sz="2800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F3EBB593-863A-33E2-F5AA-5F2EE0794BF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dirty="0"/>
              <a:t>Thomas Kieferle | Innovationswerkstatt MT</a:t>
            </a:r>
          </a:p>
        </p:txBody>
      </p:sp>
      <p:pic>
        <p:nvPicPr>
          <p:cNvPr id="31" name="Additive LMD" descr="Ein Bild, das Meeresgrund enthält.&#10;&#10;Automatisch generierte Beschreibung">
            <a:extLst>
              <a:ext uri="{FF2B5EF4-FFF2-40B4-BE49-F238E27FC236}">
                <a16:creationId xmlns:a16="http://schemas.microsoft.com/office/drawing/2014/main" id="{0BF86ABF-6805-D993-1631-BFCFA70B41B2}"/>
              </a:ext>
            </a:extLst>
          </p:cNvPr>
          <p:cNvPicPr>
            <a:picLocks noGrp="1" noChangeAspect="1"/>
          </p:cNvPicPr>
          <p:nvPr>
            <p:ph type="pic" sz="quarter" idx="11"/>
            <p:custDataLst>
              <p:tags r:id="rId1"/>
            </p:custDataLst>
          </p:nvPr>
        </p:nvPicPr>
        <p:blipFill>
          <a:blip r:embed="rId4"/>
          <a:srcRect t="8224" b="8224"/>
          <a:stretch>
            <a:fillRect/>
          </a:stretch>
        </p:blipFill>
        <p:spPr>
          <a:xfrm>
            <a:off x="3175" y="0"/>
            <a:ext cx="12188825" cy="6858000"/>
          </a:xfrm>
        </p:spPr>
      </p:pic>
    </p:spTree>
    <p:extLst>
      <p:ext uri="{BB962C8B-B14F-4D97-AF65-F5344CB8AC3E}">
        <p14:creationId xmlns:p14="http://schemas.microsoft.com/office/powerpoint/2010/main" val="108973921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B52497CA-7DAC-40EB-8CBB-E0D5BBEBCA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t>Interne Bauteilfindung und Serienfertigung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EE20909C-1C1F-5D90-3534-84641071AB8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Suchen, Entwickeln und Fertigen von potentiellen Serienbauteilen</a:t>
            </a:r>
          </a:p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5A34707-1FFD-A779-01A6-B51A172FD15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D57957C-F0F3-7842-B0E2-B762F92D6487}" type="slidenum">
              <a:rPr lang="de-DE" b="0" smtClean="0">
                <a:solidFill>
                  <a:schemeClr val="tx1"/>
                </a:solidFill>
              </a:rPr>
              <a:pPr/>
              <a:t>10</a:t>
            </a:fld>
            <a:r>
              <a:rPr lang="de-DE">
                <a:solidFill>
                  <a:schemeClr val="accent1"/>
                </a:solidFill>
              </a:rPr>
              <a:t>  </a:t>
            </a:r>
            <a:r>
              <a:rPr lang="de-DE" b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F3CF111-4C8F-DFB6-73AA-3FBAED93E0B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Thomas Kieferle | Innovationswerkstatt MT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8B688D9-F39D-206B-7227-C9AD0238746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AB19A4FC-76FE-4B52-A6BC-C4A9405F94A9}" type="datetime1">
              <a:rPr lang="de-DE" smtClean="0"/>
              <a:pPr/>
              <a:t>21.04.2023</a:t>
            </a:fld>
            <a:endParaRPr lang="de-DE" dirty="0"/>
          </a:p>
        </p:txBody>
      </p:sp>
      <p:pic>
        <p:nvPicPr>
          <p:cNvPr id="105476" name="Picture 4" descr="TruPrint Series 5000 | TRUMPF">
            <a:extLst>
              <a:ext uri="{FF2B5EF4-FFF2-40B4-BE49-F238E27FC236}">
                <a16:creationId xmlns:a16="http://schemas.microsoft.com/office/drawing/2014/main" id="{04E0EC3F-ADA9-4CD1-8A39-5058AB01A831}"/>
              </a:ext>
            </a:extLst>
          </p:cNvPr>
          <p:cNvPicPr>
            <a:picLocks noGrp="1"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031426" y="3584253"/>
            <a:ext cx="2412905" cy="1281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Textplatzhalter 25">
            <a:extLst>
              <a:ext uri="{FF2B5EF4-FFF2-40B4-BE49-F238E27FC236}">
                <a16:creationId xmlns:a16="http://schemas.microsoft.com/office/drawing/2014/main" id="{B8BD604D-B24B-44D0-9356-3320FA98244A}"/>
              </a:ext>
            </a:extLst>
          </p:cNvPr>
          <p:cNvSpPr>
            <a:spLocks noGrp="1"/>
          </p:cNvSpPr>
          <p:nvPr/>
        </p:nvSpPr>
        <p:spPr>
          <a:xfrm>
            <a:off x="508087" y="995957"/>
            <a:ext cx="11160125" cy="310574"/>
          </a:xfrm>
          <a:prstGeom prst="rect">
            <a:avLst/>
          </a:prstGeom>
        </p:spPr>
        <p:txBody>
          <a:bodyPr/>
          <a:lstStyle>
            <a:lvl1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de-DE" sz="2800" b="0" kern="1200" smtClean="0">
                <a:solidFill>
                  <a:schemeClr val="tx2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  <a:lvl2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None/>
              <a:defRPr lang="de-DE" sz="1600" b="0" i="0" kern="12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21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lang="de-DE" sz="1600" b="0" i="0" kern="12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43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lang="de-DE" sz="1600" b="0" i="0" kern="12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648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lang="de-DE"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64000" indent="-216000" algn="l" defTabSz="914355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lang="de-DE" sz="1600" b="0" i="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0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9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1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/>
          </a:p>
        </p:txBody>
      </p:sp>
      <p:pic>
        <p:nvPicPr>
          <p:cNvPr id="10" name="Bild 3" descr="TruLaser_5030_fiber.jpg">
            <a:extLst>
              <a:ext uri="{FF2B5EF4-FFF2-40B4-BE49-F238E27FC236}">
                <a16:creationId xmlns:a16="http://schemas.microsoft.com/office/drawing/2014/main" id="{A22186FC-0AD7-4245-8F23-CC8F1702F212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32497" y="2178812"/>
            <a:ext cx="1584185" cy="1015467"/>
          </a:xfrm>
          <a:prstGeom prst="rect">
            <a:avLst/>
          </a:prstGeom>
          <a:noFill/>
        </p:spPr>
      </p:pic>
      <p:sp>
        <p:nvSpPr>
          <p:cNvPr id="105477" name="Textfeld 105476">
            <a:extLst>
              <a:ext uri="{FF2B5EF4-FFF2-40B4-BE49-F238E27FC236}">
                <a16:creationId xmlns:a16="http://schemas.microsoft.com/office/drawing/2014/main" id="{2A348FEB-2B7A-4E6B-8823-D816943CAB7E}"/>
              </a:ext>
            </a:extLst>
          </p:cNvPr>
          <p:cNvSpPr txBox="1"/>
          <p:nvPr/>
        </p:nvSpPr>
        <p:spPr>
          <a:xfrm>
            <a:off x="535534" y="1912499"/>
            <a:ext cx="3839736" cy="2201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u="sng" dirty="0" err="1"/>
              <a:t>TruLaser</a:t>
            </a:r>
            <a:r>
              <a:rPr lang="de-DE" u="sng" dirty="0"/>
              <a:t> 5030			</a:t>
            </a:r>
          </a:p>
        </p:txBody>
      </p:sp>
      <p:sp>
        <p:nvSpPr>
          <p:cNvPr id="39" name="Textfeld 38">
            <a:extLst>
              <a:ext uri="{FF2B5EF4-FFF2-40B4-BE49-F238E27FC236}">
                <a16:creationId xmlns:a16="http://schemas.microsoft.com/office/drawing/2014/main" id="{A3AFBC99-10BA-486F-A750-A5AFB0BC7E7E}"/>
              </a:ext>
            </a:extLst>
          </p:cNvPr>
          <p:cNvSpPr txBox="1"/>
          <p:nvPr/>
        </p:nvSpPr>
        <p:spPr>
          <a:xfrm>
            <a:off x="4731425" y="3320490"/>
            <a:ext cx="6456797" cy="2201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u="sng" dirty="0"/>
              <a:t>TruPrint 5000						</a:t>
            </a:r>
          </a:p>
        </p:txBody>
      </p:sp>
      <p:sp>
        <p:nvSpPr>
          <p:cNvPr id="40" name="Textfeld 39">
            <a:extLst>
              <a:ext uri="{FF2B5EF4-FFF2-40B4-BE49-F238E27FC236}">
                <a16:creationId xmlns:a16="http://schemas.microsoft.com/office/drawing/2014/main" id="{8CD2CEB4-F629-4977-B965-C8A907257975}"/>
              </a:ext>
            </a:extLst>
          </p:cNvPr>
          <p:cNvSpPr txBox="1"/>
          <p:nvPr/>
        </p:nvSpPr>
        <p:spPr>
          <a:xfrm>
            <a:off x="535534" y="3308397"/>
            <a:ext cx="3837430" cy="44367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u="sng" dirty="0" err="1"/>
              <a:t>TruLaserCell</a:t>
            </a:r>
            <a:r>
              <a:rPr lang="de-DE" u="sng" dirty="0"/>
              <a:t> 3000			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B904A2A6-2DCB-4FAE-A9E2-504BC704F2FD}"/>
              </a:ext>
            </a:extLst>
          </p:cNvPr>
          <p:cNvPicPr>
            <a:picLocks noChangeAspect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2323" y="3573506"/>
            <a:ext cx="1370648" cy="1292634"/>
          </a:xfrm>
          <a:prstGeom prst="rect">
            <a:avLst/>
          </a:prstGeom>
        </p:spPr>
      </p:pic>
      <p:pic>
        <p:nvPicPr>
          <p:cNvPr id="27" name="Grafik 26">
            <a:extLst>
              <a:ext uri="{FF2B5EF4-FFF2-40B4-BE49-F238E27FC236}">
                <a16:creationId xmlns:a16="http://schemas.microsoft.com/office/drawing/2014/main" id="{32CA5BA8-50EB-42E8-ABA4-6CEB8E2B6569}"/>
              </a:ext>
            </a:extLst>
          </p:cNvPr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95736" y="2170640"/>
            <a:ext cx="717067" cy="1006145"/>
          </a:xfrm>
          <a:prstGeom prst="rect">
            <a:avLst/>
          </a:prstGeom>
        </p:spPr>
      </p:pic>
      <p:pic>
        <p:nvPicPr>
          <p:cNvPr id="28" name="Grafik 27">
            <a:extLst>
              <a:ext uri="{FF2B5EF4-FFF2-40B4-BE49-F238E27FC236}">
                <a16:creationId xmlns:a16="http://schemas.microsoft.com/office/drawing/2014/main" id="{DF42CEF1-3514-4E07-8E4A-346C0372F5AD}"/>
              </a:ext>
            </a:extLst>
          </p:cNvPr>
          <p:cNvPicPr>
            <a:picLocks noChangeAspect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941910" y="2232189"/>
            <a:ext cx="851776" cy="965039"/>
          </a:xfrm>
          <a:prstGeom prst="rect">
            <a:avLst/>
          </a:prstGeom>
        </p:spPr>
      </p:pic>
      <p:pic>
        <p:nvPicPr>
          <p:cNvPr id="30" name="Grafik 29">
            <a:extLst>
              <a:ext uri="{FF2B5EF4-FFF2-40B4-BE49-F238E27FC236}">
                <a16:creationId xmlns:a16="http://schemas.microsoft.com/office/drawing/2014/main" id="{5AA017D8-6910-463A-AAA1-78BAD3E5D446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backgroundRemoval t="3002" b="95685" l="1466" r="96417">
                        <a14:foregroundMark x1="18567" y1="23640" x2="29967" y2="38837"/>
                        <a14:foregroundMark x1="29967" y1="38837" x2="29479" y2="36773"/>
                        <a14:foregroundMark x1="29967" y1="11820" x2="20847" y2="22514"/>
                        <a14:foregroundMark x1="20847" y1="22514" x2="9446" y2="44090"/>
                        <a14:foregroundMark x1="3746" y1="45966" x2="11075" y2="45966"/>
                        <a14:foregroundMark x1="6840" y1="9944" x2="32085" y2="6004"/>
                        <a14:foregroundMark x1="32085" y1="6004" x2="39577" y2="10507"/>
                        <a14:foregroundMark x1="39577" y1="10507" x2="39739" y2="10694"/>
                        <a14:foregroundMark x1="51792" y1="40338" x2="44137" y2="40901"/>
                        <a14:foregroundMark x1="40717" y1="16135" x2="46254" y2="22889"/>
                        <a14:foregroundMark x1="46254" y1="22889" x2="48860" y2="31707"/>
                        <a14:foregroundMark x1="90717" y1="21013" x2="93974" y2="29456"/>
                        <a14:foregroundMark x1="93974" y1="29456" x2="92345" y2="39212"/>
                        <a14:foregroundMark x1="92345" y1="39212" x2="89251" y2="45403"/>
                        <a14:foregroundMark x1="89577" y1="55347" x2="89902" y2="56473"/>
                        <a14:foregroundMark x1="91694" y1="45403" x2="94137" y2="36210"/>
                        <a14:foregroundMark x1="94137" y1="36210" x2="93811" y2="24765"/>
                        <a14:foregroundMark x1="91368" y1="12758" x2="80945" y2="7317"/>
                        <a14:foregroundMark x1="66450" y1="7880" x2="64821" y2="10319"/>
                        <a14:foregroundMark x1="95928" y1="23640" x2="96417" y2="27955"/>
                        <a14:foregroundMark x1="85016" y1="6191" x2="74919" y2="4503"/>
                        <a14:foregroundMark x1="75570" y1="3940" x2="81596" y2="3752"/>
                        <a14:foregroundMark x1="68730" y1="25141" x2="59609" y2="22139"/>
                        <a14:foregroundMark x1="59609" y1="22139" x2="59283" y2="15385"/>
                        <a14:foregroundMark x1="58958" y1="40525" x2="58958" y2="32083"/>
                        <a14:foregroundMark x1="56352" y1="24203" x2="57166" y2="35272"/>
                        <a14:foregroundMark x1="5863" y1="93809" x2="24756" y2="89493"/>
                        <a14:foregroundMark x1="24756" y1="89493" x2="31433" y2="90244"/>
                        <a14:foregroundMark x1="2606" y1="90244" x2="2443" y2="53471"/>
                        <a14:foregroundMark x1="1466" y1="54034" x2="1466" y2="60600"/>
                        <a14:foregroundMark x1="4397" y1="94934" x2="12541" y2="95685"/>
                        <a14:foregroundMark x1="12541" y1="95685" x2="26710" y2="94559"/>
                        <a14:foregroundMark x1="8469" y1="64540" x2="8958" y2="73171"/>
                        <a14:foregroundMark x1="32410" y1="64916" x2="32248" y2="71295"/>
                        <a14:foregroundMark x1="2606" y1="5629" x2="6189" y2="5629"/>
                        <a14:foregroundMark x1="36808" y1="3002" x2="37296" y2="4128"/>
                        <a14:foregroundMark x1="44137" y1="22889" x2="46091" y2="26642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27013" y="2304143"/>
            <a:ext cx="851778" cy="751227"/>
          </a:xfrm>
          <a:prstGeom prst="rect">
            <a:avLst/>
          </a:prstGeom>
        </p:spPr>
      </p:pic>
      <p:pic>
        <p:nvPicPr>
          <p:cNvPr id="32" name="Grafik 31">
            <a:extLst>
              <a:ext uri="{FF2B5EF4-FFF2-40B4-BE49-F238E27FC236}">
                <a16:creationId xmlns:a16="http://schemas.microsoft.com/office/drawing/2014/main" id="{EF9275F5-29E1-40C2-9A55-21066E9D5FFD}"/>
              </a:ext>
            </a:extLst>
          </p:cNvPr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13134" y="3573506"/>
            <a:ext cx="1560144" cy="710004"/>
          </a:xfrm>
          <a:prstGeom prst="rect">
            <a:avLst/>
          </a:prstGeom>
        </p:spPr>
      </p:pic>
      <p:pic>
        <p:nvPicPr>
          <p:cNvPr id="33" name="Picture 1545959460">
            <a:extLst>
              <a:ext uri="{FF2B5EF4-FFF2-40B4-BE49-F238E27FC236}">
                <a16:creationId xmlns:a16="http://schemas.microsoft.com/office/drawing/2014/main" id="{64FAC503-0838-446B-B454-5C44194CA139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8152106" y="4074882"/>
            <a:ext cx="582630" cy="999887"/>
          </a:xfrm>
          <a:prstGeom prst="rect">
            <a:avLst/>
          </a:prstGeom>
        </p:spPr>
      </p:pic>
      <p:pic>
        <p:nvPicPr>
          <p:cNvPr id="35" name="Grafik 34">
            <a:extLst>
              <a:ext uri="{FF2B5EF4-FFF2-40B4-BE49-F238E27FC236}">
                <a16:creationId xmlns:a16="http://schemas.microsoft.com/office/drawing/2014/main" id="{597E1E89-81A8-4EB1-84DC-03C8DCCA494D}"/>
              </a:ext>
            </a:extLst>
          </p:cNvPr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29467" y="2273894"/>
            <a:ext cx="815677" cy="869092"/>
          </a:xfrm>
          <a:prstGeom prst="rect">
            <a:avLst/>
          </a:prstGeom>
        </p:spPr>
      </p:pic>
      <p:pic>
        <p:nvPicPr>
          <p:cNvPr id="36" name="Picture 10">
            <a:extLst>
              <a:ext uri="{FF2B5EF4-FFF2-40B4-BE49-F238E27FC236}">
                <a16:creationId xmlns:a16="http://schemas.microsoft.com/office/drawing/2014/main" id="{0E62C708-DAFC-483E-B0D3-B0BB7BCCB2C2}"/>
              </a:ext>
            </a:extLst>
          </p:cNvPr>
          <p:cNvPicPr>
            <a:picLocks noChangeAspect="1"/>
          </p:cNvPicPr>
          <p:nvPr/>
        </p:nvPicPr>
        <p:blipFill rotWithShape="1">
          <a:blip r:embed="rId2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14266" y="3582078"/>
            <a:ext cx="1655210" cy="1284061"/>
          </a:xfrm>
          <a:prstGeom prst="rect">
            <a:avLst/>
          </a:prstGeom>
        </p:spPr>
      </p:pic>
      <p:pic>
        <p:nvPicPr>
          <p:cNvPr id="37" name="Inhaltsplatzhalter 10">
            <a:extLst>
              <a:ext uri="{FF2B5EF4-FFF2-40B4-BE49-F238E27FC236}">
                <a16:creationId xmlns:a16="http://schemas.microsoft.com/office/drawing/2014/main" id="{7CC2A35E-20FE-47D4-BABE-DA4E8C0F3B54}"/>
              </a:ext>
            </a:extLst>
          </p:cNvPr>
          <p:cNvPicPr>
            <a:picLocks noChangeAspect="1"/>
          </p:cNvPicPr>
          <p:nvPr/>
        </p:nvPicPr>
        <p:blipFill rotWithShape="1">
          <a:blip r:embed="rId21" cstate="print">
            <a:clrChange>
              <a:clrFrom>
                <a:srgbClr val="E3E3E3"/>
              </a:clrFrom>
              <a:clrTo>
                <a:srgbClr val="E3E3E3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88150" y="2307092"/>
            <a:ext cx="1516601" cy="890336"/>
          </a:xfrm>
          <a:prstGeom prst="rect">
            <a:avLst/>
          </a:prstGeom>
          <a:ln w="25400">
            <a:noFill/>
          </a:ln>
        </p:spPr>
      </p:pic>
      <p:pic>
        <p:nvPicPr>
          <p:cNvPr id="38" name="Grafik 37">
            <a:extLst>
              <a:ext uri="{FF2B5EF4-FFF2-40B4-BE49-F238E27FC236}">
                <a16:creationId xmlns:a16="http://schemas.microsoft.com/office/drawing/2014/main" id="{DA4F5F4C-31B7-456E-BDCB-E984E96632C0}"/>
              </a:ext>
            </a:extLst>
          </p:cNvPr>
          <p:cNvPicPr>
            <a:picLocks noChangeAspect="1"/>
          </p:cNvPicPr>
          <p:nvPr/>
        </p:nvPicPr>
        <p:blipFill>
          <a:blip r:embed="rId22" cstate="print">
            <a:clrChange>
              <a:clrFrom>
                <a:srgbClr val="E3E3E5"/>
              </a:clrFrom>
              <a:clrTo>
                <a:srgbClr val="E3E3E5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25282" y="2265359"/>
            <a:ext cx="1396529" cy="931207"/>
          </a:xfrm>
          <a:prstGeom prst="rect">
            <a:avLst/>
          </a:prstGeom>
        </p:spPr>
      </p:pic>
      <p:sp>
        <p:nvSpPr>
          <p:cNvPr id="41" name="Textfeld 40">
            <a:extLst>
              <a:ext uri="{FF2B5EF4-FFF2-40B4-BE49-F238E27FC236}">
                <a16:creationId xmlns:a16="http://schemas.microsoft.com/office/drawing/2014/main" id="{BD6D0E7D-696E-4757-9619-34A54EC1139C}"/>
              </a:ext>
            </a:extLst>
          </p:cNvPr>
          <p:cNvSpPr txBox="1"/>
          <p:nvPr/>
        </p:nvSpPr>
        <p:spPr>
          <a:xfrm>
            <a:off x="4731425" y="1898770"/>
            <a:ext cx="4692413" cy="22183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u="sng" dirty="0"/>
              <a:t>Laserquellen				</a:t>
            </a:r>
          </a:p>
        </p:txBody>
      </p:sp>
      <p:sp>
        <p:nvSpPr>
          <p:cNvPr id="42" name="Textfeld 41">
            <a:extLst>
              <a:ext uri="{FF2B5EF4-FFF2-40B4-BE49-F238E27FC236}">
                <a16:creationId xmlns:a16="http://schemas.microsoft.com/office/drawing/2014/main" id="{21289E28-3210-436F-8C96-DC9768AE38B1}"/>
              </a:ext>
            </a:extLst>
          </p:cNvPr>
          <p:cNvSpPr txBox="1"/>
          <p:nvPr/>
        </p:nvSpPr>
        <p:spPr>
          <a:xfrm>
            <a:off x="9562204" y="1908364"/>
            <a:ext cx="1978112" cy="2201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u="sng" dirty="0"/>
              <a:t>Induktoren</a:t>
            </a:r>
          </a:p>
        </p:txBody>
      </p:sp>
      <p:sp>
        <p:nvSpPr>
          <p:cNvPr id="43" name="Textfeld 42">
            <a:extLst>
              <a:ext uri="{FF2B5EF4-FFF2-40B4-BE49-F238E27FC236}">
                <a16:creationId xmlns:a16="http://schemas.microsoft.com/office/drawing/2014/main" id="{46B2B7B9-AC21-42D5-94BB-3924215D8550}"/>
              </a:ext>
            </a:extLst>
          </p:cNvPr>
          <p:cNvSpPr txBox="1"/>
          <p:nvPr/>
        </p:nvSpPr>
        <p:spPr>
          <a:xfrm>
            <a:off x="4622045" y="4885880"/>
            <a:ext cx="3707810" cy="2957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de-DE" u="sng" dirty="0" err="1"/>
              <a:t>TruWeld</a:t>
            </a:r>
            <a:r>
              <a:rPr lang="de-DE" u="sng" dirty="0"/>
              <a:t> (Schweißvorrichtungen)</a:t>
            </a:r>
          </a:p>
        </p:txBody>
      </p:sp>
      <p:pic>
        <p:nvPicPr>
          <p:cNvPr id="45" name="Grafik 44">
            <a:extLst>
              <a:ext uri="{FF2B5EF4-FFF2-40B4-BE49-F238E27FC236}">
                <a16:creationId xmlns:a16="http://schemas.microsoft.com/office/drawing/2014/main" id="{1BE50209-FA6D-4AE3-A8FB-E729A999255A}"/>
              </a:ext>
            </a:extLst>
          </p:cNvPr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20800" y="5278733"/>
            <a:ext cx="886695" cy="665022"/>
          </a:xfrm>
          <a:prstGeom prst="rect">
            <a:avLst/>
          </a:prstGeom>
        </p:spPr>
      </p:pic>
      <p:sp>
        <p:nvSpPr>
          <p:cNvPr id="8" name="Takeaway">
            <a:extLst>
              <a:ext uri="{FF2B5EF4-FFF2-40B4-BE49-F238E27FC236}">
                <a16:creationId xmlns:a16="http://schemas.microsoft.com/office/drawing/2014/main" id="{01FC1E20-D8CD-4FAF-FA24-DFADE2059C8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227479" y="1859269"/>
            <a:ext cx="1370648" cy="392400"/>
          </a:xfrm>
          <a:prstGeom prst="rect">
            <a:avLst/>
          </a:prstGeom>
          <a:solidFill>
            <a:srgbClr val="93C11C"/>
          </a:solidFill>
          <a:effectLst>
            <a:softEdge rad="31750"/>
          </a:effectLst>
        </p:spPr>
        <p:txBody>
          <a:bodyPr vert="horz" lIns="108000" tIns="72000" rIns="108000" bIns="72000" rtlCol="0">
            <a:norm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de-DE" sz="1600" b="1" cap="all" dirty="0">
                <a:solidFill>
                  <a:schemeClr val="bg1"/>
                </a:solidFill>
                <a:cs typeface="Arial" panose="020B0604020202020204" pitchFamily="34" charset="0"/>
              </a:rPr>
              <a:t>Kühlung</a:t>
            </a:r>
          </a:p>
        </p:txBody>
      </p:sp>
      <p:sp>
        <p:nvSpPr>
          <p:cNvPr id="9" name="Takeaway">
            <a:extLst>
              <a:ext uri="{FF2B5EF4-FFF2-40B4-BE49-F238E27FC236}">
                <a16:creationId xmlns:a16="http://schemas.microsoft.com/office/drawing/2014/main" id="{2D135EC8-92E6-CD6E-5CDA-CABF652D8F5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6827000" y="1911743"/>
            <a:ext cx="1370648" cy="392400"/>
          </a:xfrm>
          <a:prstGeom prst="rect">
            <a:avLst/>
          </a:prstGeom>
          <a:solidFill>
            <a:srgbClr val="93C11C"/>
          </a:solidFill>
          <a:effectLst>
            <a:softEdge rad="31750"/>
          </a:effectLst>
        </p:spPr>
        <p:txBody>
          <a:bodyPr vert="horz" lIns="108000" tIns="72000" rIns="108000" bIns="72000" rtlCol="0">
            <a:norm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de-DE" sz="1600" b="1" cap="all" dirty="0">
                <a:solidFill>
                  <a:schemeClr val="bg1"/>
                </a:solidFill>
                <a:cs typeface="Arial" panose="020B0604020202020204" pitchFamily="34" charset="0"/>
              </a:rPr>
              <a:t>Leichtbau</a:t>
            </a:r>
          </a:p>
        </p:txBody>
      </p:sp>
      <p:sp>
        <p:nvSpPr>
          <p:cNvPr id="11" name="Takeaway">
            <a:extLst>
              <a:ext uri="{FF2B5EF4-FFF2-40B4-BE49-F238E27FC236}">
                <a16:creationId xmlns:a16="http://schemas.microsoft.com/office/drawing/2014/main" id="{0EAB0286-E0EE-ADBA-0698-7F0C0FC803C9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8268078" y="4613081"/>
            <a:ext cx="1655210" cy="392400"/>
          </a:xfrm>
          <a:prstGeom prst="rect">
            <a:avLst/>
          </a:prstGeom>
          <a:solidFill>
            <a:srgbClr val="93C11C"/>
          </a:solidFill>
          <a:effectLst>
            <a:softEdge rad="31750"/>
          </a:effectLst>
        </p:spPr>
        <p:txBody>
          <a:bodyPr vert="horz" lIns="108000" tIns="72000" rIns="108000" bIns="72000" rtlCol="0">
            <a:norm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de-DE" sz="1600" b="1" cap="all" dirty="0">
                <a:solidFill>
                  <a:schemeClr val="bg1"/>
                </a:solidFill>
                <a:cs typeface="Arial" panose="020B0604020202020204" pitchFamily="34" charset="0"/>
              </a:rPr>
              <a:t>Gasführung</a:t>
            </a:r>
          </a:p>
        </p:txBody>
      </p:sp>
      <p:sp>
        <p:nvSpPr>
          <p:cNvPr id="12" name="Takeaway">
            <a:extLst>
              <a:ext uri="{FF2B5EF4-FFF2-40B4-BE49-F238E27FC236}">
                <a16:creationId xmlns:a16="http://schemas.microsoft.com/office/drawing/2014/main" id="{CF816AB4-603A-5FB5-8951-C5331D55ABA5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5528191" y="5801502"/>
            <a:ext cx="1655210" cy="392400"/>
          </a:xfrm>
          <a:prstGeom prst="rect">
            <a:avLst/>
          </a:prstGeom>
          <a:solidFill>
            <a:srgbClr val="93C11C"/>
          </a:solidFill>
          <a:effectLst>
            <a:softEdge rad="31750"/>
          </a:effectLst>
        </p:spPr>
        <p:txBody>
          <a:bodyPr vert="horz" lIns="108000" tIns="72000" rIns="108000" bIns="72000" rtlCol="0">
            <a:norm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de-DE" sz="1600" b="1" cap="all" dirty="0">
                <a:solidFill>
                  <a:schemeClr val="bg1"/>
                </a:solidFill>
                <a:cs typeface="Arial" panose="020B0604020202020204" pitchFamily="34" charset="0"/>
              </a:rPr>
              <a:t>Losgröße 1</a:t>
            </a:r>
          </a:p>
        </p:txBody>
      </p:sp>
      <p:sp>
        <p:nvSpPr>
          <p:cNvPr id="13" name="Takeaway">
            <a:extLst>
              <a:ext uri="{FF2B5EF4-FFF2-40B4-BE49-F238E27FC236}">
                <a16:creationId xmlns:a16="http://schemas.microsoft.com/office/drawing/2014/main" id="{E4F18826-B78C-C24B-12C7-09C9F7C23567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2088921" y="4689680"/>
            <a:ext cx="1655210" cy="392400"/>
          </a:xfrm>
          <a:prstGeom prst="rect">
            <a:avLst/>
          </a:prstGeom>
          <a:solidFill>
            <a:srgbClr val="93C11C"/>
          </a:solidFill>
          <a:effectLst>
            <a:softEdge rad="31750"/>
          </a:effectLst>
        </p:spPr>
        <p:txBody>
          <a:bodyPr vert="horz" lIns="108000" tIns="72000" rIns="108000" bIns="72000" rtlCol="0">
            <a:norm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de-DE" sz="1600" b="1" cap="all" dirty="0">
                <a:solidFill>
                  <a:schemeClr val="bg1"/>
                </a:solidFill>
                <a:cs typeface="Arial" panose="020B0604020202020204" pitchFamily="34" charset="0"/>
              </a:rPr>
              <a:t>Mechanik</a:t>
            </a:r>
          </a:p>
        </p:txBody>
      </p:sp>
      <p:sp>
        <p:nvSpPr>
          <p:cNvPr id="14" name="Takeaway">
            <a:extLst>
              <a:ext uri="{FF2B5EF4-FFF2-40B4-BE49-F238E27FC236}">
                <a16:creationId xmlns:a16="http://schemas.microsoft.com/office/drawing/2014/main" id="{69717F26-93B2-418C-4483-045694F8C584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9885106" y="3055370"/>
            <a:ext cx="1655210" cy="392400"/>
          </a:xfrm>
          <a:prstGeom prst="rect">
            <a:avLst/>
          </a:prstGeom>
          <a:solidFill>
            <a:srgbClr val="93C11C"/>
          </a:solidFill>
          <a:effectLst>
            <a:softEdge rad="31750"/>
          </a:effectLst>
        </p:spPr>
        <p:txBody>
          <a:bodyPr vert="horz" lIns="108000" tIns="72000" rIns="108000" bIns="72000" rtlCol="0">
            <a:normAutofit fontScale="62500" lnSpcReduction="20000"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de-DE" sz="1600" b="1" cap="all" dirty="0">
                <a:solidFill>
                  <a:schemeClr val="bg1"/>
                </a:solidFill>
                <a:cs typeface="Arial" panose="020B0604020202020204" pitchFamily="34" charset="0"/>
              </a:rPr>
              <a:t>Manuelle </a:t>
            </a:r>
            <a:r>
              <a:rPr lang="de-DE" sz="1600" b="1" cap="all" dirty="0" err="1">
                <a:solidFill>
                  <a:schemeClr val="bg1"/>
                </a:solidFill>
                <a:cs typeface="Arial" panose="020B0604020202020204" pitchFamily="34" charset="0"/>
              </a:rPr>
              <a:t>prozesse</a:t>
            </a:r>
            <a:r>
              <a:rPr lang="de-DE" sz="1600" b="1" cap="all" dirty="0">
                <a:solidFill>
                  <a:schemeClr val="bg1"/>
                </a:solidFill>
                <a:cs typeface="Arial" panose="020B0604020202020204" pitchFamily="34" charset="0"/>
              </a:rPr>
              <a:t> eliminieren</a:t>
            </a:r>
          </a:p>
        </p:txBody>
      </p:sp>
    </p:spTree>
    <p:extLst>
      <p:ext uri="{BB962C8B-B14F-4D97-AF65-F5344CB8AC3E}">
        <p14:creationId xmlns:p14="http://schemas.microsoft.com/office/powerpoint/2010/main" val="2049925782"/>
      </p:ext>
    </p:extLst>
  </p:cSld>
  <p:clrMapOvr>
    <a:masterClrMapping/>
  </p:clrMapOvr>
  <p:transition spd="med"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33D180AD-3EA9-429B-A098-BB17F9F224A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clrChange>
              <a:clrFrom>
                <a:srgbClr val="EEEEEE"/>
              </a:clrFrom>
              <a:clrTo>
                <a:srgbClr val="EEEEE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26125" y="2219027"/>
            <a:ext cx="5327566" cy="1795248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47DF4C8-749F-43EA-A9EC-96F4A03720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dirty="0"/>
              <a:t>Ausblick: Was können wir von AM erwarten?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3B1C1D78-DA6C-7C85-6A0E-E12030918C62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98ABF466-4C08-30A5-BF5D-7F912F77219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 err="1"/>
              <a:t>Erhebliche</a:t>
            </a:r>
            <a:r>
              <a:rPr lang="en-US" dirty="0"/>
              <a:t> Performance </a:t>
            </a:r>
            <a:r>
              <a:rPr lang="en-US" dirty="0" err="1"/>
              <a:t>Sprünge</a:t>
            </a:r>
            <a:r>
              <a:rPr lang="en-US" dirty="0"/>
              <a:t> </a:t>
            </a:r>
            <a:r>
              <a:rPr lang="en-US" dirty="0" err="1"/>
              <a:t>binnen</a:t>
            </a:r>
            <a:r>
              <a:rPr lang="en-US" dirty="0"/>
              <a:t> </a:t>
            </a:r>
            <a:r>
              <a:rPr lang="en-US" dirty="0" err="1"/>
              <a:t>einer</a:t>
            </a:r>
            <a:r>
              <a:rPr lang="en-US" dirty="0"/>
              <a:t> </a:t>
            </a:r>
            <a:r>
              <a:rPr lang="en-US" dirty="0" err="1"/>
              <a:t>Maschinengeneration</a:t>
            </a:r>
            <a:endParaRPr lang="en-US" dirty="0"/>
          </a:p>
          <a:p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9F842F5-DAEE-5EFA-F40B-0F2CC2F73D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D57957C-F0F3-7842-B0E2-B762F92D6487}" type="slidenum">
              <a:rPr lang="de-DE" b="0" smtClean="0">
                <a:solidFill>
                  <a:schemeClr val="tx1"/>
                </a:solidFill>
              </a:rPr>
              <a:pPr/>
              <a:t>11</a:t>
            </a:fld>
            <a:r>
              <a:rPr lang="de-DE">
                <a:solidFill>
                  <a:schemeClr val="accent1"/>
                </a:solidFill>
              </a:rPr>
              <a:t>  </a:t>
            </a:r>
            <a:r>
              <a:rPr lang="de-DE" b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3313271-A554-2EEE-95E2-3085BF9CCA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Thomas Kieferle | Innovationswerkstatt MT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D1012E33-60F1-A9B0-6D9A-A9DDE521D49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AB19A4FC-76FE-4B52-A6BC-C4A9405F94A9}" type="datetime1">
              <a:rPr lang="de-DE" smtClean="0"/>
              <a:pPr/>
              <a:t>21.04.2023</a:t>
            </a:fld>
            <a:endParaRPr lang="de-DE" dirty="0"/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7D0D1CCA-F686-41B0-A329-35BC2BB88726}"/>
              </a:ext>
            </a:extLst>
          </p:cNvPr>
          <p:cNvSpPr txBox="1"/>
          <p:nvPr/>
        </p:nvSpPr>
        <p:spPr>
          <a:xfrm>
            <a:off x="6820816" y="3996621"/>
            <a:ext cx="1487161" cy="16542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00" b="1" dirty="0">
                <a:solidFill>
                  <a:schemeClr val="dk1"/>
                </a:solidFill>
              </a:rPr>
              <a:t>G08 &amp; High-Speed-Parameter</a:t>
            </a:r>
          </a:p>
          <a:p>
            <a:r>
              <a:rPr lang="de-DE" sz="1000" dirty="0">
                <a:solidFill>
                  <a:schemeClr val="dk1"/>
                </a:solidFill>
              </a:rPr>
              <a:t> </a:t>
            </a:r>
          </a:p>
          <a:p>
            <a:r>
              <a:rPr lang="de-DE" sz="1000" dirty="0">
                <a:solidFill>
                  <a:schemeClr val="dk1"/>
                </a:solidFill>
              </a:rPr>
              <a:t>100% in 5 h</a:t>
            </a:r>
          </a:p>
          <a:p>
            <a:endParaRPr lang="de-DE" sz="1000" dirty="0">
              <a:solidFill>
                <a:schemeClr val="dk1"/>
              </a:solidFill>
            </a:endParaRPr>
          </a:p>
          <a:p>
            <a:r>
              <a:rPr lang="de-DE" sz="1000" dirty="0">
                <a:solidFill>
                  <a:schemeClr val="dk1"/>
                </a:solidFill>
              </a:rPr>
              <a:t>Material: Edelstahl 316L</a:t>
            </a:r>
          </a:p>
          <a:p>
            <a:endParaRPr lang="en-US" sz="1000" dirty="0">
              <a:solidFill>
                <a:schemeClr val="dk1"/>
              </a:solidFill>
            </a:endParaRPr>
          </a:p>
          <a:p>
            <a:r>
              <a:rPr lang="en-US" sz="1000" dirty="0">
                <a:solidFill>
                  <a:schemeClr val="dk1"/>
                </a:solidFill>
              </a:rPr>
              <a:t>TruPrint 3000 neu</a:t>
            </a:r>
          </a:p>
          <a:p>
            <a:r>
              <a:rPr lang="en-US" sz="1000" dirty="0" err="1">
                <a:solidFill>
                  <a:schemeClr val="dk1"/>
                </a:solidFill>
              </a:rPr>
              <a:t>Schichtdicke</a:t>
            </a:r>
            <a:r>
              <a:rPr lang="en-US" sz="1000" dirty="0">
                <a:solidFill>
                  <a:schemeClr val="dk1"/>
                </a:solidFill>
              </a:rPr>
              <a:t>: 60µm</a:t>
            </a:r>
          </a:p>
          <a:p>
            <a:r>
              <a:rPr lang="en-US" sz="1000" dirty="0" err="1">
                <a:solidFill>
                  <a:schemeClr val="dk1"/>
                </a:solidFill>
              </a:rPr>
              <a:t>Dichte</a:t>
            </a:r>
            <a:r>
              <a:rPr lang="en-US" sz="1000" dirty="0">
                <a:solidFill>
                  <a:schemeClr val="dk1"/>
                </a:solidFill>
              </a:rPr>
              <a:t>: </a:t>
            </a:r>
            <a:r>
              <a:rPr lang="en-US" sz="1050" b="1" dirty="0">
                <a:solidFill>
                  <a:schemeClr val="dk1"/>
                </a:solidFill>
              </a:rPr>
              <a:t>&gt;99,5 %</a:t>
            </a:r>
            <a:endParaRPr lang="de-DE" sz="1050" b="1" dirty="0">
              <a:solidFill>
                <a:schemeClr val="dk1"/>
              </a:solidFill>
            </a:endParaRPr>
          </a:p>
          <a:p>
            <a:endParaRPr lang="de-DE" sz="700" dirty="0">
              <a:solidFill>
                <a:schemeClr val="dk1"/>
              </a:solidFill>
              <a:highlight>
                <a:srgbClr val="FF0000"/>
              </a:highlight>
            </a:endParaRPr>
          </a:p>
        </p:txBody>
      </p:sp>
      <p:sp>
        <p:nvSpPr>
          <p:cNvPr id="32" name="Pfeil: nach rechts 31">
            <a:extLst>
              <a:ext uri="{FF2B5EF4-FFF2-40B4-BE49-F238E27FC236}">
                <a16:creationId xmlns:a16="http://schemas.microsoft.com/office/drawing/2014/main" id="{EFACD854-2A30-4706-8A5F-467635C83E3E}"/>
              </a:ext>
            </a:extLst>
          </p:cNvPr>
          <p:cNvSpPr/>
          <p:nvPr/>
        </p:nvSpPr>
        <p:spPr>
          <a:xfrm rot="20795799">
            <a:off x="2657199" y="2429609"/>
            <a:ext cx="5420287" cy="431598"/>
          </a:xfrm>
          <a:prstGeom prst="rightArrow">
            <a:avLst/>
          </a:prstGeom>
          <a:solidFill>
            <a:srgbClr val="2851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sz="1400" b="1" dirty="0">
                <a:solidFill>
                  <a:schemeClr val="bg1"/>
                </a:solidFill>
              </a:rPr>
              <a:t>400 % verbesserte </a:t>
            </a:r>
            <a:r>
              <a:rPr lang="de-DE" sz="1400" b="1" dirty="0" err="1">
                <a:solidFill>
                  <a:schemeClr val="bg1"/>
                </a:solidFill>
              </a:rPr>
              <a:t>performance</a:t>
            </a: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F3AA81B0-36E3-4720-A312-4CF594637E63}"/>
              </a:ext>
            </a:extLst>
          </p:cNvPr>
          <p:cNvSpPr txBox="1"/>
          <p:nvPr/>
        </p:nvSpPr>
        <p:spPr>
          <a:xfrm>
            <a:off x="4779302" y="3996621"/>
            <a:ext cx="1569247" cy="164660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00" b="1" dirty="0">
                <a:solidFill>
                  <a:schemeClr val="dk1"/>
                </a:solidFill>
              </a:rPr>
              <a:t>G08 &amp; Standard-Parameter</a:t>
            </a:r>
          </a:p>
          <a:p>
            <a:endParaRPr lang="de-DE" sz="1000" dirty="0">
              <a:solidFill>
                <a:schemeClr val="dk1"/>
              </a:solidFill>
            </a:endParaRPr>
          </a:p>
          <a:p>
            <a:pPr algn="l"/>
            <a:r>
              <a:rPr lang="de-DE" sz="1000" dirty="0">
                <a:solidFill>
                  <a:schemeClr val="dk1"/>
                </a:solidFill>
              </a:rPr>
              <a:t>60 % in 5 h</a:t>
            </a:r>
          </a:p>
          <a:p>
            <a:pPr algn="l"/>
            <a:endParaRPr lang="de-DE" sz="1000" dirty="0">
              <a:solidFill>
                <a:schemeClr val="dk1"/>
              </a:solidFill>
            </a:endParaRPr>
          </a:p>
          <a:p>
            <a:pPr algn="l"/>
            <a:r>
              <a:rPr lang="de-DE" sz="1000" dirty="0">
                <a:solidFill>
                  <a:schemeClr val="dk1"/>
                </a:solidFill>
              </a:rPr>
              <a:t>Material: Edelstahl 316L</a:t>
            </a:r>
            <a:endParaRPr lang="en-US" sz="1000" dirty="0">
              <a:solidFill>
                <a:schemeClr val="dk1"/>
              </a:solidFill>
            </a:endParaRPr>
          </a:p>
          <a:p>
            <a:pPr algn="l"/>
            <a:endParaRPr lang="en-US" sz="1000" dirty="0">
              <a:solidFill>
                <a:schemeClr val="dk1"/>
              </a:solidFill>
            </a:endParaRPr>
          </a:p>
          <a:p>
            <a:pPr algn="l"/>
            <a:r>
              <a:rPr lang="en-US" sz="1000" dirty="0">
                <a:solidFill>
                  <a:schemeClr val="dk1"/>
                </a:solidFill>
              </a:rPr>
              <a:t>TruPrint 3000 neu</a:t>
            </a:r>
          </a:p>
          <a:p>
            <a:pPr algn="l"/>
            <a:r>
              <a:rPr lang="en-US" sz="1000" dirty="0" err="1">
                <a:solidFill>
                  <a:schemeClr val="dk1"/>
                </a:solidFill>
              </a:rPr>
              <a:t>Schichtdicke</a:t>
            </a:r>
            <a:r>
              <a:rPr lang="en-US" sz="1000" dirty="0">
                <a:solidFill>
                  <a:schemeClr val="dk1"/>
                </a:solidFill>
              </a:rPr>
              <a:t>: 60µm</a:t>
            </a:r>
          </a:p>
          <a:p>
            <a:r>
              <a:rPr lang="en-US" sz="1000" dirty="0" err="1">
                <a:solidFill>
                  <a:schemeClr val="dk1"/>
                </a:solidFill>
              </a:rPr>
              <a:t>Dichte</a:t>
            </a:r>
            <a:r>
              <a:rPr lang="en-US" sz="1000" dirty="0">
                <a:solidFill>
                  <a:schemeClr val="dk1"/>
                </a:solidFill>
              </a:rPr>
              <a:t>: &gt;99,8 %</a:t>
            </a:r>
            <a:endParaRPr lang="de-DE" sz="1000" dirty="0">
              <a:solidFill>
                <a:schemeClr val="dk1"/>
              </a:solidFill>
            </a:endParaRPr>
          </a:p>
          <a:p>
            <a:pPr algn="l"/>
            <a:endParaRPr lang="de-DE" sz="700" dirty="0">
              <a:solidFill>
                <a:schemeClr val="dk1"/>
              </a:solidFill>
            </a:endParaRPr>
          </a:p>
        </p:txBody>
      </p:sp>
      <p:sp>
        <p:nvSpPr>
          <p:cNvPr id="35" name="Textfeld 34">
            <a:extLst>
              <a:ext uri="{FF2B5EF4-FFF2-40B4-BE49-F238E27FC236}">
                <a16:creationId xmlns:a16="http://schemas.microsoft.com/office/drawing/2014/main" id="{C266A577-3F11-4D5F-ADA4-1058801D6660}"/>
              </a:ext>
            </a:extLst>
          </p:cNvPr>
          <p:cNvSpPr txBox="1"/>
          <p:nvPr/>
        </p:nvSpPr>
        <p:spPr>
          <a:xfrm>
            <a:off x="2737788" y="3996621"/>
            <a:ext cx="1398783" cy="15465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00" b="1" dirty="0">
                <a:solidFill>
                  <a:schemeClr val="dk1"/>
                </a:solidFill>
              </a:rPr>
              <a:t>G02 &amp; </a:t>
            </a:r>
            <a:r>
              <a:rPr lang="de-DE" sz="1000" b="1" dirty="0"/>
              <a:t>Standard Parameter</a:t>
            </a:r>
            <a:endParaRPr lang="de-DE" sz="1000" dirty="0">
              <a:solidFill>
                <a:schemeClr val="dk1"/>
              </a:solidFill>
            </a:endParaRPr>
          </a:p>
          <a:p>
            <a:endParaRPr lang="de-DE" sz="1000" dirty="0">
              <a:solidFill>
                <a:schemeClr val="dk1"/>
              </a:solidFill>
            </a:endParaRPr>
          </a:p>
          <a:p>
            <a:r>
              <a:rPr lang="de-DE" sz="1000" dirty="0">
                <a:solidFill>
                  <a:schemeClr val="dk1"/>
                </a:solidFill>
              </a:rPr>
              <a:t>25 % in 5 h</a:t>
            </a:r>
          </a:p>
          <a:p>
            <a:endParaRPr lang="de-DE" sz="1000" dirty="0">
              <a:solidFill>
                <a:schemeClr val="dk1"/>
              </a:solidFill>
            </a:endParaRPr>
          </a:p>
          <a:p>
            <a:r>
              <a:rPr lang="de-DE" sz="1000" dirty="0">
                <a:solidFill>
                  <a:schemeClr val="dk1"/>
                </a:solidFill>
              </a:rPr>
              <a:t>Material: Edelstahl 316L</a:t>
            </a:r>
            <a:endParaRPr lang="en-US" sz="1000" dirty="0">
              <a:solidFill>
                <a:schemeClr val="dk1"/>
              </a:solidFill>
            </a:endParaRPr>
          </a:p>
          <a:p>
            <a:endParaRPr lang="en-US" sz="1000" dirty="0">
              <a:solidFill>
                <a:schemeClr val="dk1"/>
              </a:solidFill>
            </a:endParaRPr>
          </a:p>
          <a:p>
            <a:r>
              <a:rPr lang="en-US" sz="1000" dirty="0">
                <a:solidFill>
                  <a:schemeClr val="dk1"/>
                </a:solidFill>
              </a:rPr>
              <a:t>TruPrint 3000 alt</a:t>
            </a:r>
          </a:p>
          <a:p>
            <a:r>
              <a:rPr lang="en-US" sz="1000" dirty="0" err="1">
                <a:solidFill>
                  <a:schemeClr val="dk1"/>
                </a:solidFill>
              </a:rPr>
              <a:t>Schichtdicke</a:t>
            </a:r>
            <a:r>
              <a:rPr lang="en-US" sz="1000" dirty="0">
                <a:solidFill>
                  <a:schemeClr val="dk1"/>
                </a:solidFill>
              </a:rPr>
              <a:t>: 60µm</a:t>
            </a:r>
          </a:p>
          <a:p>
            <a:r>
              <a:rPr lang="en-US" sz="1000" dirty="0" err="1">
                <a:solidFill>
                  <a:schemeClr val="dk1"/>
                </a:solidFill>
              </a:rPr>
              <a:t>Dichte</a:t>
            </a:r>
            <a:r>
              <a:rPr lang="en-US" sz="1000" dirty="0">
                <a:solidFill>
                  <a:schemeClr val="dk1"/>
                </a:solidFill>
              </a:rPr>
              <a:t>: </a:t>
            </a:r>
            <a:r>
              <a:rPr lang="en-US" sz="1050" b="1" dirty="0">
                <a:solidFill>
                  <a:schemeClr val="dk1"/>
                </a:solidFill>
              </a:rPr>
              <a:t>&gt;99,8 %</a:t>
            </a:r>
            <a:endParaRPr lang="de-DE" sz="1000" b="1" dirty="0">
              <a:solidFill>
                <a:schemeClr val="dk1"/>
              </a:solidFill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D32C3880-A622-45B4-A83B-44C95BEE6F4F}"/>
              </a:ext>
            </a:extLst>
          </p:cNvPr>
          <p:cNvSpPr/>
          <p:nvPr/>
        </p:nvSpPr>
        <p:spPr>
          <a:xfrm>
            <a:off x="8399935" y="3563312"/>
            <a:ext cx="3287791" cy="2022042"/>
          </a:xfrm>
          <a:prstGeom prst="rect">
            <a:avLst/>
          </a:prstGeom>
          <a:solidFill>
            <a:srgbClr val="2851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285750" indent="-285750" algn="l">
              <a:buFont typeface="Wingdings" panose="05000000000000000000" pitchFamily="2" charset="2"/>
              <a:buChar char="§"/>
            </a:pPr>
            <a:r>
              <a:rPr lang="en-US" sz="1200" b="1" dirty="0" err="1">
                <a:solidFill>
                  <a:schemeClr val="bg1"/>
                </a:solidFill>
              </a:rPr>
              <a:t>Einsatz</a:t>
            </a:r>
            <a:r>
              <a:rPr lang="en-US" sz="1200" b="1" dirty="0">
                <a:solidFill>
                  <a:schemeClr val="bg1"/>
                </a:solidFill>
              </a:rPr>
              <a:t> </a:t>
            </a:r>
            <a:r>
              <a:rPr lang="en-US" sz="1200" b="1" dirty="0" err="1">
                <a:solidFill>
                  <a:schemeClr val="bg1"/>
                </a:solidFill>
              </a:rPr>
              <a:t>mehrerer</a:t>
            </a:r>
            <a:r>
              <a:rPr lang="en-US" sz="1200" b="1" dirty="0">
                <a:solidFill>
                  <a:schemeClr val="bg1"/>
                </a:solidFill>
              </a:rPr>
              <a:t> Laser </a:t>
            </a:r>
            <a:r>
              <a:rPr lang="en-US" sz="1200" b="1" dirty="0" err="1">
                <a:solidFill>
                  <a:schemeClr val="bg1"/>
                </a:solidFill>
              </a:rPr>
              <a:t>gleichzeitig</a:t>
            </a:r>
            <a:endParaRPr lang="en-US" sz="1200" b="1" dirty="0">
              <a:solidFill>
                <a:schemeClr val="bg1"/>
              </a:solidFill>
            </a:endParaRPr>
          </a:p>
          <a:p>
            <a:pPr marL="285750" indent="-285750" algn="l">
              <a:buFont typeface="Wingdings" panose="05000000000000000000" pitchFamily="2" charset="2"/>
              <a:buChar char="§"/>
            </a:pPr>
            <a:endParaRPr lang="en-US" sz="1200" b="1" dirty="0">
              <a:solidFill>
                <a:schemeClr val="bg1"/>
              </a:solidFill>
            </a:endParaRPr>
          </a:p>
          <a:p>
            <a:pPr marL="285750" indent="-285750" algn="l">
              <a:buFont typeface="Wingdings" panose="05000000000000000000" pitchFamily="2" charset="2"/>
              <a:buChar char="§"/>
            </a:pPr>
            <a:r>
              <a:rPr lang="en-US" sz="1200" b="1" dirty="0" err="1">
                <a:solidFill>
                  <a:schemeClr val="bg1"/>
                </a:solidFill>
              </a:rPr>
              <a:t>Optimierte</a:t>
            </a:r>
            <a:r>
              <a:rPr lang="en-US" sz="1200" b="1" dirty="0">
                <a:solidFill>
                  <a:schemeClr val="bg1"/>
                </a:solidFill>
              </a:rPr>
              <a:t> </a:t>
            </a:r>
            <a:r>
              <a:rPr lang="en-US" sz="1200" b="1" dirty="0" err="1">
                <a:solidFill>
                  <a:schemeClr val="bg1"/>
                </a:solidFill>
              </a:rPr>
              <a:t>Gasströmung</a:t>
            </a:r>
            <a:endParaRPr lang="en-US" sz="1200" b="1" dirty="0">
              <a:solidFill>
                <a:schemeClr val="bg1"/>
              </a:solidFill>
            </a:endParaRPr>
          </a:p>
          <a:p>
            <a:pPr algn="l"/>
            <a:endParaRPr lang="en-US" sz="1200" b="1" dirty="0">
              <a:solidFill>
                <a:schemeClr val="bg1"/>
              </a:solidFill>
            </a:endParaRPr>
          </a:p>
          <a:p>
            <a:pPr marL="285750" indent="-285750" algn="l">
              <a:buFont typeface="Wingdings" panose="05000000000000000000" pitchFamily="2" charset="2"/>
              <a:buChar char="§"/>
            </a:pPr>
            <a:r>
              <a:rPr lang="en-US" sz="1200" b="1" dirty="0" err="1">
                <a:solidFill>
                  <a:schemeClr val="bg1"/>
                </a:solidFill>
              </a:rPr>
              <a:t>Entwicklung</a:t>
            </a:r>
            <a:r>
              <a:rPr lang="en-US" sz="1200" b="1" dirty="0">
                <a:solidFill>
                  <a:schemeClr val="bg1"/>
                </a:solidFill>
              </a:rPr>
              <a:t> von </a:t>
            </a:r>
            <a:r>
              <a:rPr lang="en-US" sz="1200" b="1" dirty="0" err="1">
                <a:solidFill>
                  <a:schemeClr val="bg1"/>
                </a:solidFill>
              </a:rPr>
              <a:t>Hochleistungsparametern</a:t>
            </a:r>
            <a:r>
              <a:rPr lang="en-US" sz="1200" b="1" dirty="0">
                <a:solidFill>
                  <a:schemeClr val="bg1"/>
                </a:solidFill>
              </a:rPr>
              <a:t> </a:t>
            </a:r>
            <a:r>
              <a:rPr lang="en-US" sz="1200" b="1" dirty="0" err="1">
                <a:solidFill>
                  <a:schemeClr val="bg1"/>
                </a:solidFill>
              </a:rPr>
              <a:t>mit</a:t>
            </a:r>
            <a:r>
              <a:rPr lang="en-US" sz="1200" b="1" dirty="0">
                <a:solidFill>
                  <a:schemeClr val="bg1"/>
                </a:solidFill>
              </a:rPr>
              <a:t> </a:t>
            </a:r>
            <a:r>
              <a:rPr lang="en-US" sz="1200" b="1" dirty="0" err="1">
                <a:solidFill>
                  <a:schemeClr val="bg1"/>
                </a:solidFill>
              </a:rPr>
              <a:t>geringfügig</a:t>
            </a:r>
            <a:r>
              <a:rPr lang="en-US" sz="1200" b="1" dirty="0">
                <a:solidFill>
                  <a:schemeClr val="bg1"/>
                </a:solidFill>
              </a:rPr>
              <a:t> </a:t>
            </a:r>
            <a:r>
              <a:rPr lang="en-US" sz="1200" b="1" dirty="0" err="1">
                <a:solidFill>
                  <a:schemeClr val="bg1"/>
                </a:solidFill>
              </a:rPr>
              <a:t>schlechterer</a:t>
            </a:r>
            <a:r>
              <a:rPr lang="en-US" sz="1200" b="1" dirty="0">
                <a:solidFill>
                  <a:schemeClr val="bg1"/>
                </a:solidFill>
              </a:rPr>
              <a:t> </a:t>
            </a:r>
            <a:r>
              <a:rPr lang="en-US" sz="1200" b="1" dirty="0" err="1">
                <a:solidFill>
                  <a:schemeClr val="bg1"/>
                </a:solidFill>
              </a:rPr>
              <a:t>Dichte</a:t>
            </a:r>
            <a:endParaRPr lang="en-US" sz="1200" b="1" dirty="0">
              <a:solidFill>
                <a:schemeClr val="bg1"/>
              </a:solidFill>
            </a:endParaRPr>
          </a:p>
          <a:p>
            <a:pPr marL="285750" indent="-285750" algn="l">
              <a:buFont typeface="Wingdings" panose="05000000000000000000" pitchFamily="2" charset="2"/>
              <a:buChar char="§"/>
            </a:pPr>
            <a:endParaRPr lang="en-US" sz="1200" b="1" dirty="0">
              <a:solidFill>
                <a:schemeClr val="bg1"/>
              </a:solidFill>
            </a:endParaRPr>
          </a:p>
          <a:p>
            <a:pPr marL="285750" indent="-285750" algn="l"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bg1"/>
                </a:solidFill>
              </a:rPr>
              <a:t>Bis zu 4x </a:t>
            </a:r>
            <a:r>
              <a:rPr lang="en-US" sz="1200" b="1" dirty="0" err="1">
                <a:solidFill>
                  <a:schemeClr val="bg1"/>
                </a:solidFill>
              </a:rPr>
              <a:t>schnellere</a:t>
            </a:r>
            <a:r>
              <a:rPr lang="en-US" sz="1200" b="1" dirty="0">
                <a:solidFill>
                  <a:schemeClr val="bg1"/>
                </a:solidFill>
              </a:rPr>
              <a:t> </a:t>
            </a:r>
            <a:r>
              <a:rPr lang="en-US" sz="1200" b="1" dirty="0" err="1">
                <a:solidFill>
                  <a:schemeClr val="bg1"/>
                </a:solidFill>
              </a:rPr>
              <a:t>Bauzeit</a:t>
            </a:r>
            <a:endParaRPr lang="en-US" sz="1200" b="1" dirty="0">
              <a:solidFill>
                <a:schemeClr val="bg1"/>
              </a:solidFill>
            </a:endParaRPr>
          </a:p>
          <a:p>
            <a:pPr algn="l"/>
            <a:endParaRPr lang="en-US" sz="1400" b="1" dirty="0">
              <a:solidFill>
                <a:schemeClr val="bg1"/>
              </a:solidFill>
            </a:endParaRP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A6B5DB2F-E64D-40E2-8C36-87D4E6FEEF1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9732" y="1967748"/>
            <a:ext cx="1743712" cy="2441124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BFF71E74-6439-ECE4-60B9-1734924CFF7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416372" y="1501701"/>
            <a:ext cx="3259178" cy="20568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908869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5953FA5-E11F-F056-E72F-68D51AE7EC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t>Ihre Take-Away‘s</a:t>
            </a:r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E354E43C-74AC-0DF7-F5CD-19D4091DA89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Die AM-Technologie bietet große Chancen – wir müssen sie aber richtig einsetzen!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8E605F4E-9D1B-17EB-E70A-9FF4E1971E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D57957C-F0F3-7842-B0E2-B762F92D6487}" type="slidenum">
              <a:rPr lang="de-DE" b="0" smtClean="0">
                <a:solidFill>
                  <a:schemeClr val="tx1"/>
                </a:solidFill>
              </a:rPr>
              <a:pPr/>
              <a:t>12</a:t>
            </a:fld>
            <a:r>
              <a:rPr lang="de-DE">
                <a:solidFill>
                  <a:schemeClr val="accent1"/>
                </a:solidFill>
              </a:rPr>
              <a:t>  </a:t>
            </a:r>
            <a:r>
              <a:rPr lang="de-DE" b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E0D55C8-A9B9-E42D-95FA-297177AE6FA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Thomas Kieferle | Innovationswerkstatt MT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0D19AFD2-7166-E749-0BC5-DE8AFCC6040B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AB19A4FC-76FE-4B52-A6BC-C4A9405F94A9}" type="datetime1">
              <a:rPr lang="de-DE" smtClean="0"/>
              <a:pPr/>
              <a:t>21.04.2023</a:t>
            </a:fld>
            <a:endParaRPr lang="de-DE" dirty="0"/>
          </a:p>
        </p:txBody>
      </p:sp>
      <p:grpSp>
        <p:nvGrpSpPr>
          <p:cNvPr id="61" name="Group 13">
            <a:extLst>
              <a:ext uri="{FF2B5EF4-FFF2-40B4-BE49-F238E27FC236}">
                <a16:creationId xmlns:a16="http://schemas.microsoft.com/office/drawing/2014/main" id="{C311B794-E410-0FF4-1488-4B99669AF348}"/>
              </a:ext>
            </a:extLst>
          </p:cNvPr>
          <p:cNvGrpSpPr/>
          <p:nvPr/>
        </p:nvGrpSpPr>
        <p:grpSpPr>
          <a:xfrm rot="10800000">
            <a:off x="786074" y="2815862"/>
            <a:ext cx="2319105" cy="2873481"/>
            <a:chOff x="772274" y="1361112"/>
            <a:chExt cx="1400710" cy="1735546"/>
          </a:xfrm>
        </p:grpSpPr>
        <p:sp>
          <p:nvSpPr>
            <p:cNvPr id="62" name="Freeform 14">
              <a:extLst>
                <a:ext uri="{FF2B5EF4-FFF2-40B4-BE49-F238E27FC236}">
                  <a16:creationId xmlns:a16="http://schemas.microsoft.com/office/drawing/2014/main" id="{20DD21D4-EA2A-35B4-8993-050C0F5BBDD2}"/>
                </a:ext>
              </a:extLst>
            </p:cNvPr>
            <p:cNvSpPr/>
            <p:nvPr/>
          </p:nvSpPr>
          <p:spPr>
            <a:xfrm rot="10800000">
              <a:off x="772274" y="1361112"/>
              <a:ext cx="1400710" cy="1735546"/>
            </a:xfrm>
            <a:custGeom>
              <a:avLst/>
              <a:gdLst>
                <a:gd name="connsiteX0" fmla="*/ 1400710 w 1400710"/>
                <a:gd name="connsiteY0" fmla="*/ 1735546 h 1735546"/>
                <a:gd name="connsiteX1" fmla="*/ 0 w 1400710"/>
                <a:gd name="connsiteY1" fmla="*/ 1735546 h 1735546"/>
                <a:gd name="connsiteX2" fmla="*/ 0 w 1400710"/>
                <a:gd name="connsiteY2" fmla="*/ 219894 h 1735546"/>
                <a:gd name="connsiteX3" fmla="*/ 505360 w 1400710"/>
                <a:gd name="connsiteY3" fmla="*/ 219894 h 1735546"/>
                <a:gd name="connsiteX4" fmla="*/ 700355 w 1400710"/>
                <a:gd name="connsiteY4" fmla="*/ 0 h 1735546"/>
                <a:gd name="connsiteX5" fmla="*/ 895350 w 1400710"/>
                <a:gd name="connsiteY5" fmla="*/ 219894 h 1735546"/>
                <a:gd name="connsiteX6" fmla="*/ 1400710 w 1400710"/>
                <a:gd name="connsiteY6" fmla="*/ 219894 h 1735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00710" h="1735546">
                  <a:moveTo>
                    <a:pt x="1400710" y="1735546"/>
                  </a:moveTo>
                  <a:lnTo>
                    <a:pt x="0" y="1735546"/>
                  </a:lnTo>
                  <a:lnTo>
                    <a:pt x="0" y="219894"/>
                  </a:lnTo>
                  <a:lnTo>
                    <a:pt x="505360" y="219894"/>
                  </a:lnTo>
                  <a:lnTo>
                    <a:pt x="700355" y="0"/>
                  </a:lnTo>
                  <a:lnTo>
                    <a:pt x="895350" y="219894"/>
                  </a:lnTo>
                  <a:lnTo>
                    <a:pt x="1400710" y="219894"/>
                  </a:lnTo>
                  <a:close/>
                </a:path>
              </a:pathLst>
            </a:cu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63" name="Rectangle 15">
              <a:extLst>
                <a:ext uri="{FF2B5EF4-FFF2-40B4-BE49-F238E27FC236}">
                  <a16:creationId xmlns:a16="http://schemas.microsoft.com/office/drawing/2014/main" id="{B2B6CCAC-99D8-05BE-4A2E-6F1B5E721EFE}"/>
                </a:ext>
              </a:extLst>
            </p:cNvPr>
            <p:cNvSpPr/>
            <p:nvPr/>
          </p:nvSpPr>
          <p:spPr>
            <a:xfrm>
              <a:off x="772274" y="1361112"/>
              <a:ext cx="1400710" cy="1143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</p:grpSp>
      <p:sp>
        <p:nvSpPr>
          <p:cNvPr id="64" name="Rectangle 16">
            <a:extLst>
              <a:ext uri="{FF2B5EF4-FFF2-40B4-BE49-F238E27FC236}">
                <a16:creationId xmlns:a16="http://schemas.microsoft.com/office/drawing/2014/main" id="{39CDCA15-6235-C65F-A0BB-EBE9CA893810}"/>
              </a:ext>
            </a:extLst>
          </p:cNvPr>
          <p:cNvSpPr/>
          <p:nvPr/>
        </p:nvSpPr>
        <p:spPr>
          <a:xfrm>
            <a:off x="1400381" y="1662701"/>
            <a:ext cx="1090488" cy="109048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65" name="Rectangle 17">
            <a:extLst>
              <a:ext uri="{FF2B5EF4-FFF2-40B4-BE49-F238E27FC236}">
                <a16:creationId xmlns:a16="http://schemas.microsoft.com/office/drawing/2014/main" id="{D2091627-84B7-F1A8-F503-BD1008AD5549}"/>
              </a:ext>
            </a:extLst>
          </p:cNvPr>
          <p:cNvSpPr/>
          <p:nvPr/>
        </p:nvSpPr>
        <p:spPr>
          <a:xfrm>
            <a:off x="714153" y="3303364"/>
            <a:ext cx="246294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b="1" dirty="0" err="1">
                <a:solidFill>
                  <a:schemeClr val="accent1"/>
                </a:solidFill>
              </a:rPr>
              <a:t>Große</a:t>
            </a:r>
            <a:r>
              <a:rPr lang="en-US" sz="2000" b="1" dirty="0">
                <a:solidFill>
                  <a:schemeClr val="accent1"/>
                </a:solidFill>
              </a:rPr>
              <a:t> </a:t>
            </a:r>
            <a:r>
              <a:rPr lang="en-US" sz="2000" b="1" dirty="0" err="1">
                <a:solidFill>
                  <a:schemeClr val="accent1"/>
                </a:solidFill>
              </a:rPr>
              <a:t>Chancen</a:t>
            </a:r>
            <a:endParaRPr lang="en-US" sz="2000" b="1" dirty="0">
              <a:solidFill>
                <a:schemeClr val="accent1"/>
              </a:solidFill>
            </a:endParaRPr>
          </a:p>
        </p:txBody>
      </p:sp>
      <p:sp>
        <p:nvSpPr>
          <p:cNvPr id="66" name="TextBox 18">
            <a:extLst>
              <a:ext uri="{FF2B5EF4-FFF2-40B4-BE49-F238E27FC236}">
                <a16:creationId xmlns:a16="http://schemas.microsoft.com/office/drawing/2014/main" id="{087F0E02-2C3C-508F-4E5F-B2CF26C75394}"/>
              </a:ext>
            </a:extLst>
          </p:cNvPr>
          <p:cNvSpPr txBox="1"/>
          <p:nvPr/>
        </p:nvSpPr>
        <p:spPr>
          <a:xfrm>
            <a:off x="786073" y="3747956"/>
            <a:ext cx="2312159" cy="1627625"/>
          </a:xfrm>
          <a:prstGeom prst="rect">
            <a:avLst/>
          </a:prstGeom>
          <a:noFill/>
        </p:spPr>
        <p:txBody>
          <a:bodyPr wrap="square" lIns="121920" tIns="60960" rIns="121920" bIns="60960" rtlCol="0" anchor="t">
            <a:spAutoFit/>
          </a:bodyPr>
          <a:lstStyle/>
          <a:p>
            <a:pPr algn="ctr" defTabSz="1219140">
              <a:lnSpc>
                <a:spcPts val="2400"/>
              </a:lnSpc>
              <a:defRPr/>
            </a:pPr>
            <a:r>
              <a:rPr lang="en-US" sz="1400" dirty="0" err="1">
                <a:solidFill>
                  <a:schemeClr val="bg1"/>
                </a:solidFill>
              </a:rPr>
              <a:t>Große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Potenziale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im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b="1" dirty="0" err="1">
                <a:solidFill>
                  <a:schemeClr val="bg1"/>
                </a:solidFill>
              </a:rPr>
              <a:t>Produktlebenszyklus</a:t>
            </a:r>
            <a:endParaRPr lang="en-US" sz="1400" b="1" dirty="0">
              <a:solidFill>
                <a:schemeClr val="bg1"/>
              </a:solidFill>
            </a:endParaRPr>
          </a:p>
          <a:p>
            <a:pPr marL="285750" indent="-285750" defTabSz="1219140">
              <a:lnSpc>
                <a:spcPts val="2400"/>
              </a:lnSpc>
              <a:buFont typeface="Arial" panose="020B0604020202020204" pitchFamily="34" charset="0"/>
              <a:buChar char="•"/>
              <a:defRPr/>
            </a:pPr>
            <a:r>
              <a:rPr lang="en-US" sz="1400" dirty="0" err="1">
                <a:solidFill>
                  <a:schemeClr val="bg1"/>
                </a:solidFill>
              </a:rPr>
              <a:t>Kühlung</a:t>
            </a:r>
            <a:endParaRPr lang="en-US" sz="1400" dirty="0">
              <a:solidFill>
                <a:schemeClr val="bg1"/>
              </a:solidFill>
            </a:endParaRPr>
          </a:p>
          <a:p>
            <a:pPr marL="285750" indent="-285750" defTabSz="1219140">
              <a:lnSpc>
                <a:spcPts val="2400"/>
              </a:lnSpc>
              <a:buFont typeface="Arial" panose="020B0604020202020204" pitchFamily="34" charset="0"/>
              <a:buChar char="•"/>
              <a:defRPr/>
            </a:pPr>
            <a:r>
              <a:rPr lang="en-US" sz="1400" dirty="0" err="1">
                <a:solidFill>
                  <a:schemeClr val="bg1"/>
                </a:solidFill>
              </a:rPr>
              <a:t>Leichtbau</a:t>
            </a:r>
            <a:endParaRPr lang="en-US" sz="1400" dirty="0">
              <a:solidFill>
                <a:schemeClr val="bg1"/>
              </a:solidFill>
            </a:endParaRPr>
          </a:p>
          <a:p>
            <a:pPr marL="285750" indent="-285750" defTabSz="1219140">
              <a:lnSpc>
                <a:spcPts val="2400"/>
              </a:lnSpc>
              <a:buFont typeface="Arial" panose="020B0604020202020204" pitchFamily="34" charset="0"/>
              <a:buChar char="•"/>
              <a:defRPr/>
            </a:pPr>
            <a:r>
              <a:rPr lang="en-US" sz="1400" dirty="0" err="1">
                <a:solidFill>
                  <a:schemeClr val="bg1"/>
                </a:solidFill>
              </a:rPr>
              <a:t>Funktionsintegration</a:t>
            </a:r>
            <a:endParaRPr lang="en-US" sz="1400" dirty="0">
              <a:solidFill>
                <a:schemeClr val="bg1"/>
              </a:solidFill>
            </a:endParaRPr>
          </a:p>
        </p:txBody>
      </p:sp>
      <p:grpSp>
        <p:nvGrpSpPr>
          <p:cNvPr id="67" name="Group 19">
            <a:extLst>
              <a:ext uri="{FF2B5EF4-FFF2-40B4-BE49-F238E27FC236}">
                <a16:creationId xmlns:a16="http://schemas.microsoft.com/office/drawing/2014/main" id="{3AF5D42B-3E00-83B0-DBD7-5DADD580D19E}"/>
              </a:ext>
            </a:extLst>
          </p:cNvPr>
          <p:cNvGrpSpPr/>
          <p:nvPr/>
        </p:nvGrpSpPr>
        <p:grpSpPr>
          <a:xfrm rot="10800000">
            <a:off x="3549690" y="2815862"/>
            <a:ext cx="2319105" cy="2873481"/>
            <a:chOff x="772274" y="1361112"/>
            <a:chExt cx="1400710" cy="1735546"/>
          </a:xfrm>
        </p:grpSpPr>
        <p:sp>
          <p:nvSpPr>
            <p:cNvPr id="68" name="Freeform 20">
              <a:extLst>
                <a:ext uri="{FF2B5EF4-FFF2-40B4-BE49-F238E27FC236}">
                  <a16:creationId xmlns:a16="http://schemas.microsoft.com/office/drawing/2014/main" id="{DD3EC933-3BEB-C6F6-3916-1325692F9A0B}"/>
                </a:ext>
              </a:extLst>
            </p:cNvPr>
            <p:cNvSpPr/>
            <p:nvPr/>
          </p:nvSpPr>
          <p:spPr>
            <a:xfrm rot="10800000">
              <a:off x="772274" y="1361112"/>
              <a:ext cx="1400710" cy="1735546"/>
            </a:xfrm>
            <a:custGeom>
              <a:avLst/>
              <a:gdLst>
                <a:gd name="connsiteX0" fmla="*/ 1400710 w 1400710"/>
                <a:gd name="connsiteY0" fmla="*/ 1735546 h 1735546"/>
                <a:gd name="connsiteX1" fmla="*/ 0 w 1400710"/>
                <a:gd name="connsiteY1" fmla="*/ 1735546 h 1735546"/>
                <a:gd name="connsiteX2" fmla="*/ 0 w 1400710"/>
                <a:gd name="connsiteY2" fmla="*/ 219894 h 1735546"/>
                <a:gd name="connsiteX3" fmla="*/ 505360 w 1400710"/>
                <a:gd name="connsiteY3" fmla="*/ 219894 h 1735546"/>
                <a:gd name="connsiteX4" fmla="*/ 700355 w 1400710"/>
                <a:gd name="connsiteY4" fmla="*/ 0 h 1735546"/>
                <a:gd name="connsiteX5" fmla="*/ 895350 w 1400710"/>
                <a:gd name="connsiteY5" fmla="*/ 219894 h 1735546"/>
                <a:gd name="connsiteX6" fmla="*/ 1400710 w 1400710"/>
                <a:gd name="connsiteY6" fmla="*/ 219894 h 1735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00710" h="1735546">
                  <a:moveTo>
                    <a:pt x="1400710" y="1735546"/>
                  </a:moveTo>
                  <a:lnTo>
                    <a:pt x="0" y="1735546"/>
                  </a:lnTo>
                  <a:lnTo>
                    <a:pt x="0" y="219894"/>
                  </a:lnTo>
                  <a:lnTo>
                    <a:pt x="505360" y="219894"/>
                  </a:lnTo>
                  <a:lnTo>
                    <a:pt x="700355" y="0"/>
                  </a:lnTo>
                  <a:lnTo>
                    <a:pt x="895350" y="219894"/>
                  </a:lnTo>
                  <a:lnTo>
                    <a:pt x="1400710" y="219894"/>
                  </a:lnTo>
                  <a:close/>
                </a:path>
              </a:pathLst>
            </a:cu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69" name="Rectangle 21">
              <a:extLst>
                <a:ext uri="{FF2B5EF4-FFF2-40B4-BE49-F238E27FC236}">
                  <a16:creationId xmlns:a16="http://schemas.microsoft.com/office/drawing/2014/main" id="{086952B7-F029-F26B-2415-73588E6A0E7E}"/>
                </a:ext>
              </a:extLst>
            </p:cNvPr>
            <p:cNvSpPr/>
            <p:nvPr/>
          </p:nvSpPr>
          <p:spPr>
            <a:xfrm>
              <a:off x="772274" y="1361112"/>
              <a:ext cx="1400710" cy="1143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</p:grpSp>
      <p:sp>
        <p:nvSpPr>
          <p:cNvPr id="70" name="Rectangle 22">
            <a:extLst>
              <a:ext uri="{FF2B5EF4-FFF2-40B4-BE49-F238E27FC236}">
                <a16:creationId xmlns:a16="http://schemas.microsoft.com/office/drawing/2014/main" id="{9983B13D-24F9-5E99-47C4-3E90CC96BF8B}"/>
              </a:ext>
            </a:extLst>
          </p:cNvPr>
          <p:cNvSpPr/>
          <p:nvPr/>
        </p:nvSpPr>
        <p:spPr>
          <a:xfrm>
            <a:off x="4163997" y="1662701"/>
            <a:ext cx="1090488" cy="109048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71" name="Rectangle 23">
            <a:extLst>
              <a:ext uri="{FF2B5EF4-FFF2-40B4-BE49-F238E27FC236}">
                <a16:creationId xmlns:a16="http://schemas.microsoft.com/office/drawing/2014/main" id="{C7777F24-A64C-9B10-9CF0-464202BC2E30}"/>
              </a:ext>
            </a:extLst>
          </p:cNvPr>
          <p:cNvSpPr/>
          <p:nvPr/>
        </p:nvSpPr>
        <p:spPr>
          <a:xfrm>
            <a:off x="3477769" y="3303364"/>
            <a:ext cx="246294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b="1" dirty="0" err="1">
                <a:solidFill>
                  <a:schemeClr val="accent2"/>
                </a:solidFill>
              </a:rPr>
              <a:t>Wirtschaftlichkeit</a:t>
            </a:r>
            <a:endParaRPr lang="en-US" sz="2000" b="1" dirty="0">
              <a:solidFill>
                <a:schemeClr val="accent2"/>
              </a:solidFill>
            </a:endParaRPr>
          </a:p>
        </p:txBody>
      </p:sp>
      <p:sp>
        <p:nvSpPr>
          <p:cNvPr id="72" name="TextBox 24">
            <a:extLst>
              <a:ext uri="{FF2B5EF4-FFF2-40B4-BE49-F238E27FC236}">
                <a16:creationId xmlns:a16="http://schemas.microsoft.com/office/drawing/2014/main" id="{D9E9AA24-4437-08A0-5B0A-6137D74DEB49}"/>
              </a:ext>
            </a:extLst>
          </p:cNvPr>
          <p:cNvSpPr txBox="1"/>
          <p:nvPr/>
        </p:nvSpPr>
        <p:spPr>
          <a:xfrm>
            <a:off x="3515441" y="3758246"/>
            <a:ext cx="2384080" cy="1627625"/>
          </a:xfrm>
          <a:prstGeom prst="rect">
            <a:avLst/>
          </a:prstGeom>
          <a:noFill/>
        </p:spPr>
        <p:txBody>
          <a:bodyPr wrap="square" lIns="121920" tIns="60960" rIns="121920" bIns="60960" rtlCol="0" anchor="t">
            <a:spAutoFit/>
          </a:bodyPr>
          <a:lstStyle/>
          <a:p>
            <a:pPr algn="ctr" defTabSz="1219140">
              <a:lnSpc>
                <a:spcPts val="2400"/>
              </a:lnSpc>
              <a:defRPr/>
            </a:pPr>
            <a:r>
              <a:rPr lang="en-US" sz="1400" dirty="0"/>
              <a:t>Additive Manufacturing </a:t>
            </a:r>
            <a:r>
              <a:rPr lang="en-US" sz="1400" dirty="0" err="1"/>
              <a:t>ist</a:t>
            </a:r>
            <a:r>
              <a:rPr lang="en-US" sz="1400" dirty="0"/>
              <a:t> </a:t>
            </a:r>
            <a:r>
              <a:rPr lang="en-US" sz="1400" dirty="0" err="1"/>
              <a:t>teuer</a:t>
            </a:r>
            <a:r>
              <a:rPr lang="en-US" sz="1400" dirty="0"/>
              <a:t>!</a:t>
            </a:r>
          </a:p>
          <a:p>
            <a:pPr algn="ctr" defTabSz="1219140">
              <a:lnSpc>
                <a:spcPts val="2400"/>
              </a:lnSpc>
              <a:defRPr/>
            </a:pPr>
            <a:r>
              <a:rPr lang="en-US" sz="1400" b="1" dirty="0" err="1"/>
              <a:t>Wirtschaftliches</a:t>
            </a:r>
            <a:r>
              <a:rPr lang="en-US" sz="1400" b="1" dirty="0"/>
              <a:t> Design</a:t>
            </a:r>
            <a:r>
              <a:rPr lang="en-US" sz="1400" dirty="0"/>
              <a:t> </a:t>
            </a:r>
            <a:r>
              <a:rPr lang="en-US" sz="1400" dirty="0" err="1"/>
              <a:t>ist</a:t>
            </a:r>
            <a:r>
              <a:rPr lang="en-US" sz="1400" dirty="0"/>
              <a:t> </a:t>
            </a:r>
            <a:r>
              <a:rPr lang="de-DE" sz="1400" dirty="0"/>
              <a:t> </a:t>
            </a:r>
            <a:r>
              <a:rPr lang="de-DE" sz="1400" b="1" dirty="0"/>
              <a:t>funktions- </a:t>
            </a:r>
            <a:r>
              <a:rPr lang="de-DE" sz="1400" dirty="0"/>
              <a:t>und </a:t>
            </a:r>
            <a:r>
              <a:rPr lang="de-DE" sz="1400" b="1" dirty="0"/>
              <a:t>fertigungsorientiert</a:t>
            </a:r>
            <a:r>
              <a:rPr lang="en-US" sz="1400" dirty="0"/>
              <a:t> </a:t>
            </a:r>
          </a:p>
        </p:txBody>
      </p:sp>
      <p:grpSp>
        <p:nvGrpSpPr>
          <p:cNvPr id="73" name="Group 25">
            <a:extLst>
              <a:ext uri="{FF2B5EF4-FFF2-40B4-BE49-F238E27FC236}">
                <a16:creationId xmlns:a16="http://schemas.microsoft.com/office/drawing/2014/main" id="{387C7424-8464-88D9-1D87-F0681B5D7A4B}"/>
              </a:ext>
            </a:extLst>
          </p:cNvPr>
          <p:cNvGrpSpPr/>
          <p:nvPr/>
        </p:nvGrpSpPr>
        <p:grpSpPr>
          <a:xfrm rot="10800000">
            <a:off x="6342511" y="2815862"/>
            <a:ext cx="2319105" cy="2873481"/>
            <a:chOff x="772274" y="1361112"/>
            <a:chExt cx="1400710" cy="1735546"/>
          </a:xfrm>
        </p:grpSpPr>
        <p:sp>
          <p:nvSpPr>
            <p:cNvPr id="74" name="Freeform 26">
              <a:extLst>
                <a:ext uri="{FF2B5EF4-FFF2-40B4-BE49-F238E27FC236}">
                  <a16:creationId xmlns:a16="http://schemas.microsoft.com/office/drawing/2014/main" id="{616517BC-AF09-D948-5A80-6BFFF6A7FED5}"/>
                </a:ext>
              </a:extLst>
            </p:cNvPr>
            <p:cNvSpPr/>
            <p:nvPr/>
          </p:nvSpPr>
          <p:spPr>
            <a:xfrm rot="10800000">
              <a:off x="772274" y="1361112"/>
              <a:ext cx="1400710" cy="1735546"/>
            </a:xfrm>
            <a:custGeom>
              <a:avLst/>
              <a:gdLst>
                <a:gd name="connsiteX0" fmla="*/ 1400710 w 1400710"/>
                <a:gd name="connsiteY0" fmla="*/ 1735546 h 1735546"/>
                <a:gd name="connsiteX1" fmla="*/ 0 w 1400710"/>
                <a:gd name="connsiteY1" fmla="*/ 1735546 h 1735546"/>
                <a:gd name="connsiteX2" fmla="*/ 0 w 1400710"/>
                <a:gd name="connsiteY2" fmla="*/ 219894 h 1735546"/>
                <a:gd name="connsiteX3" fmla="*/ 505360 w 1400710"/>
                <a:gd name="connsiteY3" fmla="*/ 219894 h 1735546"/>
                <a:gd name="connsiteX4" fmla="*/ 700355 w 1400710"/>
                <a:gd name="connsiteY4" fmla="*/ 0 h 1735546"/>
                <a:gd name="connsiteX5" fmla="*/ 895350 w 1400710"/>
                <a:gd name="connsiteY5" fmla="*/ 219894 h 1735546"/>
                <a:gd name="connsiteX6" fmla="*/ 1400710 w 1400710"/>
                <a:gd name="connsiteY6" fmla="*/ 219894 h 1735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00710" h="1735546">
                  <a:moveTo>
                    <a:pt x="1400710" y="1735546"/>
                  </a:moveTo>
                  <a:lnTo>
                    <a:pt x="0" y="1735546"/>
                  </a:lnTo>
                  <a:lnTo>
                    <a:pt x="0" y="219894"/>
                  </a:lnTo>
                  <a:lnTo>
                    <a:pt x="505360" y="219894"/>
                  </a:lnTo>
                  <a:lnTo>
                    <a:pt x="700355" y="0"/>
                  </a:lnTo>
                  <a:lnTo>
                    <a:pt x="895350" y="219894"/>
                  </a:lnTo>
                  <a:lnTo>
                    <a:pt x="1400710" y="219894"/>
                  </a:lnTo>
                  <a:close/>
                </a:path>
              </a:pathLst>
            </a:custGeom>
            <a:noFill/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75" name="Rectangle 27">
              <a:extLst>
                <a:ext uri="{FF2B5EF4-FFF2-40B4-BE49-F238E27FC236}">
                  <a16:creationId xmlns:a16="http://schemas.microsoft.com/office/drawing/2014/main" id="{2E3F0C44-F93F-6A8D-044A-1A5CF233F732}"/>
                </a:ext>
              </a:extLst>
            </p:cNvPr>
            <p:cNvSpPr/>
            <p:nvPr/>
          </p:nvSpPr>
          <p:spPr>
            <a:xfrm>
              <a:off x="772274" y="1361112"/>
              <a:ext cx="1400710" cy="1143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</p:grpSp>
      <p:sp>
        <p:nvSpPr>
          <p:cNvPr id="76" name="Rectangle 28">
            <a:extLst>
              <a:ext uri="{FF2B5EF4-FFF2-40B4-BE49-F238E27FC236}">
                <a16:creationId xmlns:a16="http://schemas.microsoft.com/office/drawing/2014/main" id="{FD44FACE-17BB-4E44-E53A-BE8EBE183B15}"/>
              </a:ext>
            </a:extLst>
          </p:cNvPr>
          <p:cNvSpPr/>
          <p:nvPr/>
        </p:nvSpPr>
        <p:spPr>
          <a:xfrm>
            <a:off x="6956818" y="1662701"/>
            <a:ext cx="1090488" cy="109048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77" name="Rectangle 29">
            <a:extLst>
              <a:ext uri="{FF2B5EF4-FFF2-40B4-BE49-F238E27FC236}">
                <a16:creationId xmlns:a16="http://schemas.microsoft.com/office/drawing/2014/main" id="{72A5748D-84D2-45C5-9A8B-B78DEF045C07}"/>
              </a:ext>
            </a:extLst>
          </p:cNvPr>
          <p:cNvSpPr/>
          <p:nvPr/>
        </p:nvSpPr>
        <p:spPr>
          <a:xfrm>
            <a:off x="6270590" y="3303364"/>
            <a:ext cx="246294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b="1" dirty="0">
                <a:solidFill>
                  <a:schemeClr val="accent3"/>
                </a:solidFill>
              </a:rPr>
              <a:t>Know-How</a:t>
            </a:r>
          </a:p>
        </p:txBody>
      </p:sp>
      <p:sp>
        <p:nvSpPr>
          <p:cNvPr id="78" name="TextBox 30">
            <a:extLst>
              <a:ext uri="{FF2B5EF4-FFF2-40B4-BE49-F238E27FC236}">
                <a16:creationId xmlns:a16="http://schemas.microsoft.com/office/drawing/2014/main" id="{2DC2DADB-670C-DDE0-6906-C3DA7900F7E5}"/>
              </a:ext>
            </a:extLst>
          </p:cNvPr>
          <p:cNvSpPr txBox="1"/>
          <p:nvPr/>
        </p:nvSpPr>
        <p:spPr>
          <a:xfrm>
            <a:off x="6308260" y="3758245"/>
            <a:ext cx="2384080" cy="1625701"/>
          </a:xfrm>
          <a:prstGeom prst="rect">
            <a:avLst/>
          </a:prstGeom>
          <a:noFill/>
        </p:spPr>
        <p:txBody>
          <a:bodyPr wrap="square" lIns="121920" tIns="60960" rIns="121920" bIns="60960" rtlCol="0" anchor="t">
            <a:spAutoFit/>
          </a:bodyPr>
          <a:lstStyle/>
          <a:p>
            <a:pPr algn="ctr" defTabSz="1219140">
              <a:lnSpc>
                <a:spcPts val="2400"/>
              </a:lnSpc>
              <a:defRPr/>
            </a:pPr>
            <a:r>
              <a:rPr lang="en-US" sz="1400" dirty="0">
                <a:solidFill>
                  <a:schemeClr val="bg1"/>
                </a:solidFill>
              </a:rPr>
              <a:t>Das AM-Know-How </a:t>
            </a:r>
            <a:r>
              <a:rPr lang="en-US" sz="1400" dirty="0" err="1">
                <a:solidFill>
                  <a:schemeClr val="bg1"/>
                </a:solidFill>
              </a:rPr>
              <a:t>ist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derzeit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im</a:t>
            </a:r>
            <a:r>
              <a:rPr lang="en-US" sz="1400" dirty="0">
                <a:solidFill>
                  <a:schemeClr val="bg1"/>
                </a:solidFill>
              </a:rPr>
              <a:t> Aufbau!</a:t>
            </a:r>
          </a:p>
          <a:p>
            <a:pPr algn="ctr" defTabSz="1219140">
              <a:lnSpc>
                <a:spcPts val="2400"/>
              </a:lnSpc>
              <a:defRPr/>
            </a:pPr>
            <a:r>
              <a:rPr lang="en-US" sz="1400" dirty="0" err="1">
                <a:solidFill>
                  <a:schemeClr val="bg1"/>
                </a:solidFill>
              </a:rPr>
              <a:t>Erfolgreiche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Projekte</a:t>
            </a:r>
            <a:r>
              <a:rPr lang="en-US" sz="1400" dirty="0">
                <a:solidFill>
                  <a:schemeClr val="bg1"/>
                </a:solidFill>
              </a:rPr>
              <a:t>/</a:t>
            </a:r>
            <a:r>
              <a:rPr lang="en-US" sz="1400" dirty="0" err="1">
                <a:solidFill>
                  <a:schemeClr val="bg1"/>
                </a:solidFill>
              </a:rPr>
              <a:t>Bauteile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sind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b="1" u="sng" dirty="0">
                <a:solidFill>
                  <a:schemeClr val="bg1"/>
                </a:solidFill>
              </a:rPr>
              <a:t>der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Nährboden</a:t>
            </a:r>
            <a:r>
              <a:rPr lang="en-US" sz="1400" dirty="0">
                <a:solidFill>
                  <a:schemeClr val="bg1"/>
                </a:solidFill>
              </a:rPr>
              <a:t> für </a:t>
            </a:r>
            <a:r>
              <a:rPr lang="en-US" sz="1400" dirty="0" err="1">
                <a:solidFill>
                  <a:schemeClr val="bg1"/>
                </a:solidFill>
              </a:rPr>
              <a:t>Weitere</a:t>
            </a:r>
            <a:r>
              <a:rPr lang="en-US" sz="1400" dirty="0">
                <a:solidFill>
                  <a:schemeClr val="bg1"/>
                </a:solidFill>
              </a:rPr>
              <a:t>!</a:t>
            </a:r>
          </a:p>
        </p:txBody>
      </p:sp>
      <p:grpSp>
        <p:nvGrpSpPr>
          <p:cNvPr id="79" name="Group 31">
            <a:extLst>
              <a:ext uri="{FF2B5EF4-FFF2-40B4-BE49-F238E27FC236}">
                <a16:creationId xmlns:a16="http://schemas.microsoft.com/office/drawing/2014/main" id="{D561928A-4E04-774D-748D-83AA8ADCFE29}"/>
              </a:ext>
            </a:extLst>
          </p:cNvPr>
          <p:cNvGrpSpPr/>
          <p:nvPr/>
        </p:nvGrpSpPr>
        <p:grpSpPr>
          <a:xfrm rot="10800000">
            <a:off x="9136291" y="2754817"/>
            <a:ext cx="2319105" cy="2873481"/>
            <a:chOff x="772274" y="1361112"/>
            <a:chExt cx="1400710" cy="1735546"/>
          </a:xfrm>
        </p:grpSpPr>
        <p:sp>
          <p:nvSpPr>
            <p:cNvPr id="80" name="Freeform 32">
              <a:extLst>
                <a:ext uri="{FF2B5EF4-FFF2-40B4-BE49-F238E27FC236}">
                  <a16:creationId xmlns:a16="http://schemas.microsoft.com/office/drawing/2014/main" id="{9E416609-9008-4B05-7E61-70712DEF1D71}"/>
                </a:ext>
              </a:extLst>
            </p:cNvPr>
            <p:cNvSpPr/>
            <p:nvPr/>
          </p:nvSpPr>
          <p:spPr>
            <a:xfrm rot="10800000">
              <a:off x="772274" y="1361112"/>
              <a:ext cx="1400710" cy="1735546"/>
            </a:xfrm>
            <a:custGeom>
              <a:avLst/>
              <a:gdLst>
                <a:gd name="connsiteX0" fmla="*/ 1400710 w 1400710"/>
                <a:gd name="connsiteY0" fmla="*/ 1735546 h 1735546"/>
                <a:gd name="connsiteX1" fmla="*/ 0 w 1400710"/>
                <a:gd name="connsiteY1" fmla="*/ 1735546 h 1735546"/>
                <a:gd name="connsiteX2" fmla="*/ 0 w 1400710"/>
                <a:gd name="connsiteY2" fmla="*/ 219894 h 1735546"/>
                <a:gd name="connsiteX3" fmla="*/ 505360 w 1400710"/>
                <a:gd name="connsiteY3" fmla="*/ 219894 h 1735546"/>
                <a:gd name="connsiteX4" fmla="*/ 700355 w 1400710"/>
                <a:gd name="connsiteY4" fmla="*/ 0 h 1735546"/>
                <a:gd name="connsiteX5" fmla="*/ 895350 w 1400710"/>
                <a:gd name="connsiteY5" fmla="*/ 219894 h 1735546"/>
                <a:gd name="connsiteX6" fmla="*/ 1400710 w 1400710"/>
                <a:gd name="connsiteY6" fmla="*/ 219894 h 1735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00710" h="1735546">
                  <a:moveTo>
                    <a:pt x="1400710" y="1735546"/>
                  </a:moveTo>
                  <a:lnTo>
                    <a:pt x="0" y="1735546"/>
                  </a:lnTo>
                  <a:lnTo>
                    <a:pt x="0" y="219894"/>
                  </a:lnTo>
                  <a:lnTo>
                    <a:pt x="505360" y="219894"/>
                  </a:lnTo>
                  <a:lnTo>
                    <a:pt x="700355" y="0"/>
                  </a:lnTo>
                  <a:lnTo>
                    <a:pt x="895350" y="219894"/>
                  </a:lnTo>
                  <a:lnTo>
                    <a:pt x="1400710" y="219894"/>
                  </a:lnTo>
                  <a:close/>
                </a:path>
              </a:pathLst>
            </a:custGeom>
            <a:noFill/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81" name="Rectangle 33">
              <a:extLst>
                <a:ext uri="{FF2B5EF4-FFF2-40B4-BE49-F238E27FC236}">
                  <a16:creationId xmlns:a16="http://schemas.microsoft.com/office/drawing/2014/main" id="{95D1A3B3-39CE-5FF3-9F50-7D4D4FDA6C98}"/>
                </a:ext>
              </a:extLst>
            </p:cNvPr>
            <p:cNvSpPr/>
            <p:nvPr/>
          </p:nvSpPr>
          <p:spPr>
            <a:xfrm>
              <a:off x="772274" y="1361112"/>
              <a:ext cx="1400710" cy="1143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</p:grpSp>
      <p:sp>
        <p:nvSpPr>
          <p:cNvPr id="82" name="Rectangle 34">
            <a:extLst>
              <a:ext uri="{FF2B5EF4-FFF2-40B4-BE49-F238E27FC236}">
                <a16:creationId xmlns:a16="http://schemas.microsoft.com/office/drawing/2014/main" id="{0C67144C-250C-7F4B-F3AA-6935D92CFC99}"/>
              </a:ext>
            </a:extLst>
          </p:cNvPr>
          <p:cNvSpPr/>
          <p:nvPr/>
        </p:nvSpPr>
        <p:spPr>
          <a:xfrm>
            <a:off x="9750601" y="1601659"/>
            <a:ext cx="1090488" cy="109048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83" name="Rectangle 35">
            <a:extLst>
              <a:ext uri="{FF2B5EF4-FFF2-40B4-BE49-F238E27FC236}">
                <a16:creationId xmlns:a16="http://schemas.microsoft.com/office/drawing/2014/main" id="{B8A277B3-A688-290D-9DD0-0E9E99561A0E}"/>
              </a:ext>
            </a:extLst>
          </p:cNvPr>
          <p:cNvSpPr/>
          <p:nvPr/>
        </p:nvSpPr>
        <p:spPr>
          <a:xfrm>
            <a:off x="9064373" y="3242319"/>
            <a:ext cx="246294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b="1" dirty="0">
                <a:solidFill>
                  <a:schemeClr val="accent4"/>
                </a:solidFill>
              </a:rPr>
              <a:t>Zukunft</a:t>
            </a:r>
          </a:p>
        </p:txBody>
      </p:sp>
      <p:sp>
        <p:nvSpPr>
          <p:cNvPr id="84" name="TextBox 36">
            <a:extLst>
              <a:ext uri="{FF2B5EF4-FFF2-40B4-BE49-F238E27FC236}">
                <a16:creationId xmlns:a16="http://schemas.microsoft.com/office/drawing/2014/main" id="{ABC26E05-1F99-1AF9-1A6A-D25AE625005F}"/>
              </a:ext>
            </a:extLst>
          </p:cNvPr>
          <p:cNvSpPr txBox="1"/>
          <p:nvPr/>
        </p:nvSpPr>
        <p:spPr>
          <a:xfrm>
            <a:off x="9063411" y="3730737"/>
            <a:ext cx="2462944" cy="2241255"/>
          </a:xfrm>
          <a:prstGeom prst="rect">
            <a:avLst/>
          </a:prstGeom>
          <a:noFill/>
        </p:spPr>
        <p:txBody>
          <a:bodyPr wrap="square" lIns="121920" tIns="60960" rIns="121920" bIns="60960" rtlCol="0" anchor="t">
            <a:spAutoFit/>
          </a:bodyPr>
          <a:lstStyle/>
          <a:p>
            <a:pPr algn="ctr" defTabSz="1219140">
              <a:lnSpc>
                <a:spcPts val="2400"/>
              </a:lnSpc>
              <a:defRPr/>
            </a:pPr>
            <a:r>
              <a:rPr lang="de-DE" sz="1400" b="1" dirty="0">
                <a:solidFill>
                  <a:schemeClr val="bg1"/>
                </a:solidFill>
              </a:rPr>
              <a:t>Hohe Wissenszuwachs-raten </a:t>
            </a:r>
            <a:r>
              <a:rPr lang="de-DE" sz="1400" dirty="0">
                <a:solidFill>
                  <a:schemeClr val="bg1"/>
                </a:solidFill>
              </a:rPr>
              <a:t>bei Mensch, Prozess, </a:t>
            </a:r>
          </a:p>
          <a:p>
            <a:pPr algn="ctr" defTabSz="1219140">
              <a:lnSpc>
                <a:spcPts val="2400"/>
              </a:lnSpc>
              <a:defRPr/>
            </a:pPr>
            <a:r>
              <a:rPr lang="de-DE" sz="1400" dirty="0">
                <a:solidFill>
                  <a:schemeClr val="bg1"/>
                </a:solidFill>
              </a:rPr>
              <a:t>Material, Maschine.</a:t>
            </a:r>
          </a:p>
          <a:p>
            <a:pPr algn="ctr" defTabSz="1219140">
              <a:lnSpc>
                <a:spcPts val="2400"/>
              </a:lnSpc>
              <a:defRPr/>
            </a:pPr>
            <a:r>
              <a:rPr lang="de-DE" sz="1400" dirty="0">
                <a:solidFill>
                  <a:schemeClr val="bg1"/>
                </a:solidFill>
              </a:rPr>
              <a:t>Die Technologie hat Entwicklungspotenzial</a:t>
            </a:r>
          </a:p>
          <a:p>
            <a:pPr marL="285750" indent="-285750" algn="ctr" defTabSz="1219140">
              <a:lnSpc>
                <a:spcPts val="2400"/>
              </a:lnSpc>
              <a:buFont typeface="Arial" panose="020B0604020202020204" pitchFamily="34" charset="0"/>
              <a:buChar char="•"/>
              <a:defRPr/>
            </a:pPr>
            <a:endParaRPr lang="de-DE" sz="1400" dirty="0">
              <a:solidFill>
                <a:schemeClr val="bg1"/>
              </a:solidFill>
            </a:endParaRPr>
          </a:p>
          <a:p>
            <a:pPr marL="285750" indent="-285750" algn="ctr" defTabSz="1219140">
              <a:lnSpc>
                <a:spcPts val="2400"/>
              </a:lnSpc>
              <a:buFont typeface="Arial" panose="020B0604020202020204" pitchFamily="34" charset="0"/>
              <a:buChar char="•"/>
              <a:defRPr/>
            </a:pP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86" name="Shape 24025">
            <a:extLst>
              <a:ext uri="{FF2B5EF4-FFF2-40B4-BE49-F238E27FC236}">
                <a16:creationId xmlns:a16="http://schemas.microsoft.com/office/drawing/2014/main" id="{0C192EAE-8D18-AAAE-F5F1-760C849CA5F2}"/>
              </a:ext>
            </a:extLst>
          </p:cNvPr>
          <p:cNvSpPr/>
          <p:nvPr/>
        </p:nvSpPr>
        <p:spPr>
          <a:xfrm>
            <a:off x="4370958" y="1871744"/>
            <a:ext cx="676565" cy="67240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473" h="21600" extrusionOk="0">
                <a:moveTo>
                  <a:pt x="961" y="0"/>
                </a:moveTo>
                <a:cubicBezTo>
                  <a:pt x="427" y="0"/>
                  <a:pt x="0" y="434"/>
                  <a:pt x="0" y="973"/>
                </a:cubicBezTo>
                <a:cubicBezTo>
                  <a:pt x="0" y="1339"/>
                  <a:pt x="190" y="1663"/>
                  <a:pt x="481" y="1835"/>
                </a:cubicBezTo>
                <a:lnTo>
                  <a:pt x="481" y="13243"/>
                </a:lnTo>
                <a:cubicBezTo>
                  <a:pt x="481" y="13512"/>
                  <a:pt x="695" y="13751"/>
                  <a:pt x="961" y="13751"/>
                </a:cubicBezTo>
                <a:lnTo>
                  <a:pt x="3954" y="13751"/>
                </a:lnTo>
                <a:lnTo>
                  <a:pt x="2206" y="20362"/>
                </a:lnTo>
                <a:cubicBezTo>
                  <a:pt x="2070" y="20886"/>
                  <a:pt x="2387" y="21415"/>
                  <a:pt x="2905" y="21556"/>
                </a:cubicBezTo>
                <a:cubicBezTo>
                  <a:pt x="2990" y="21577"/>
                  <a:pt x="3060" y="21600"/>
                  <a:pt x="3145" y="21600"/>
                </a:cubicBezTo>
                <a:cubicBezTo>
                  <a:pt x="3573" y="21600"/>
                  <a:pt x="3969" y="21311"/>
                  <a:pt x="4085" y="20870"/>
                </a:cubicBezTo>
                <a:lnTo>
                  <a:pt x="5963" y="13751"/>
                </a:lnTo>
                <a:lnTo>
                  <a:pt x="8082" y="13751"/>
                </a:lnTo>
                <a:lnTo>
                  <a:pt x="9960" y="20870"/>
                </a:lnTo>
                <a:cubicBezTo>
                  <a:pt x="10076" y="21311"/>
                  <a:pt x="10470" y="21600"/>
                  <a:pt x="10900" y="21600"/>
                </a:cubicBezTo>
                <a:cubicBezTo>
                  <a:pt x="10982" y="21600"/>
                  <a:pt x="11077" y="21577"/>
                  <a:pt x="11162" y="21556"/>
                </a:cubicBezTo>
                <a:cubicBezTo>
                  <a:pt x="11677" y="21415"/>
                  <a:pt x="11974" y="20886"/>
                  <a:pt x="11839" y="20362"/>
                </a:cubicBezTo>
                <a:lnTo>
                  <a:pt x="10091" y="13751"/>
                </a:lnTo>
                <a:lnTo>
                  <a:pt x="13084" y="13751"/>
                </a:lnTo>
                <a:cubicBezTo>
                  <a:pt x="13353" y="13751"/>
                  <a:pt x="13565" y="13512"/>
                  <a:pt x="13565" y="13243"/>
                </a:cubicBezTo>
                <a:lnTo>
                  <a:pt x="13565" y="10303"/>
                </a:lnTo>
                <a:lnTo>
                  <a:pt x="12603" y="10104"/>
                </a:lnTo>
                <a:cubicBezTo>
                  <a:pt x="12603" y="10104"/>
                  <a:pt x="12603" y="12757"/>
                  <a:pt x="12603" y="12757"/>
                </a:cubicBezTo>
                <a:lnTo>
                  <a:pt x="1442" y="12757"/>
                </a:lnTo>
                <a:lnTo>
                  <a:pt x="1442" y="1968"/>
                </a:lnTo>
                <a:lnTo>
                  <a:pt x="12603" y="1968"/>
                </a:lnTo>
                <a:lnTo>
                  <a:pt x="12603" y="6080"/>
                </a:lnTo>
                <a:lnTo>
                  <a:pt x="13565" y="6301"/>
                </a:lnTo>
                <a:lnTo>
                  <a:pt x="13565" y="1835"/>
                </a:lnTo>
                <a:cubicBezTo>
                  <a:pt x="13852" y="1663"/>
                  <a:pt x="14045" y="1339"/>
                  <a:pt x="14045" y="973"/>
                </a:cubicBezTo>
                <a:cubicBezTo>
                  <a:pt x="14045" y="434"/>
                  <a:pt x="13618" y="0"/>
                  <a:pt x="13084" y="0"/>
                </a:cubicBezTo>
                <a:lnTo>
                  <a:pt x="961" y="0"/>
                </a:lnTo>
                <a:close/>
                <a:moveTo>
                  <a:pt x="4674" y="2830"/>
                </a:moveTo>
                <a:cubicBezTo>
                  <a:pt x="4406" y="2830"/>
                  <a:pt x="4194" y="3045"/>
                  <a:pt x="4194" y="3316"/>
                </a:cubicBezTo>
                <a:lnTo>
                  <a:pt x="4194" y="10922"/>
                </a:lnTo>
                <a:cubicBezTo>
                  <a:pt x="4194" y="11195"/>
                  <a:pt x="4406" y="11408"/>
                  <a:pt x="4674" y="11408"/>
                </a:cubicBezTo>
                <a:cubicBezTo>
                  <a:pt x="4943" y="11408"/>
                  <a:pt x="5155" y="11194"/>
                  <a:pt x="5155" y="10922"/>
                </a:cubicBezTo>
                <a:lnTo>
                  <a:pt x="5155" y="3316"/>
                </a:lnTo>
                <a:cubicBezTo>
                  <a:pt x="5155" y="3045"/>
                  <a:pt x="4941" y="2830"/>
                  <a:pt x="4674" y="2830"/>
                </a:cubicBezTo>
                <a:close/>
                <a:moveTo>
                  <a:pt x="17103" y="3537"/>
                </a:moveTo>
                <a:cubicBezTo>
                  <a:pt x="16153" y="3537"/>
                  <a:pt x="15378" y="4319"/>
                  <a:pt x="15377" y="5284"/>
                </a:cubicBezTo>
                <a:cubicBezTo>
                  <a:pt x="15377" y="6246"/>
                  <a:pt x="16153" y="7031"/>
                  <a:pt x="17103" y="7031"/>
                </a:cubicBezTo>
                <a:cubicBezTo>
                  <a:pt x="18054" y="7031"/>
                  <a:pt x="18829" y="6246"/>
                  <a:pt x="18829" y="5284"/>
                </a:cubicBezTo>
                <a:cubicBezTo>
                  <a:pt x="18829" y="4323"/>
                  <a:pt x="18054" y="3537"/>
                  <a:pt x="17103" y="3537"/>
                </a:cubicBezTo>
                <a:close/>
                <a:moveTo>
                  <a:pt x="7470" y="4952"/>
                </a:moveTo>
                <a:cubicBezTo>
                  <a:pt x="7202" y="4952"/>
                  <a:pt x="6990" y="5167"/>
                  <a:pt x="6990" y="5439"/>
                </a:cubicBezTo>
                <a:lnTo>
                  <a:pt x="6990" y="11076"/>
                </a:lnTo>
                <a:cubicBezTo>
                  <a:pt x="6990" y="11349"/>
                  <a:pt x="7202" y="11585"/>
                  <a:pt x="7470" y="11585"/>
                </a:cubicBezTo>
                <a:cubicBezTo>
                  <a:pt x="7738" y="11585"/>
                  <a:pt x="7951" y="11349"/>
                  <a:pt x="7951" y="11076"/>
                </a:cubicBezTo>
                <a:lnTo>
                  <a:pt x="7951" y="5439"/>
                </a:lnTo>
                <a:cubicBezTo>
                  <a:pt x="7951" y="5166"/>
                  <a:pt x="7738" y="4952"/>
                  <a:pt x="7470" y="4952"/>
                </a:cubicBezTo>
                <a:close/>
                <a:moveTo>
                  <a:pt x="2577" y="6367"/>
                </a:moveTo>
                <a:cubicBezTo>
                  <a:pt x="2309" y="6367"/>
                  <a:pt x="2097" y="6582"/>
                  <a:pt x="2097" y="6854"/>
                </a:cubicBezTo>
                <a:lnTo>
                  <a:pt x="2097" y="11032"/>
                </a:lnTo>
                <a:cubicBezTo>
                  <a:pt x="2097" y="11302"/>
                  <a:pt x="2309" y="11519"/>
                  <a:pt x="2577" y="11519"/>
                </a:cubicBezTo>
                <a:cubicBezTo>
                  <a:pt x="2846" y="11519"/>
                  <a:pt x="3058" y="11302"/>
                  <a:pt x="3058" y="11032"/>
                </a:cubicBezTo>
                <a:lnTo>
                  <a:pt x="3058" y="6854"/>
                </a:lnTo>
                <a:cubicBezTo>
                  <a:pt x="3058" y="6582"/>
                  <a:pt x="2846" y="6367"/>
                  <a:pt x="2577" y="6367"/>
                </a:cubicBezTo>
                <a:close/>
                <a:moveTo>
                  <a:pt x="9567" y="6389"/>
                </a:moveTo>
                <a:cubicBezTo>
                  <a:pt x="9044" y="6273"/>
                  <a:pt x="8521" y="6610"/>
                  <a:pt x="8410" y="7141"/>
                </a:cubicBezTo>
                <a:cubicBezTo>
                  <a:pt x="8297" y="7675"/>
                  <a:pt x="8629" y="8199"/>
                  <a:pt x="9152" y="8313"/>
                </a:cubicBezTo>
                <a:lnTo>
                  <a:pt x="14810" y="9529"/>
                </a:lnTo>
                <a:cubicBezTo>
                  <a:pt x="14867" y="9538"/>
                  <a:pt x="14924" y="9551"/>
                  <a:pt x="14984" y="9551"/>
                </a:cubicBezTo>
                <a:lnTo>
                  <a:pt x="14984" y="14083"/>
                </a:lnTo>
                <a:lnTo>
                  <a:pt x="14613" y="20539"/>
                </a:lnTo>
                <a:cubicBezTo>
                  <a:pt x="14582" y="21082"/>
                  <a:pt x="14995" y="21543"/>
                  <a:pt x="15530" y="21578"/>
                </a:cubicBezTo>
                <a:cubicBezTo>
                  <a:pt x="15551" y="21578"/>
                  <a:pt x="15580" y="21578"/>
                  <a:pt x="15596" y="21578"/>
                </a:cubicBezTo>
                <a:cubicBezTo>
                  <a:pt x="16106" y="21578"/>
                  <a:pt x="16527" y="21174"/>
                  <a:pt x="16557" y="20649"/>
                </a:cubicBezTo>
                <a:lnTo>
                  <a:pt x="16863" y="15122"/>
                </a:lnTo>
                <a:lnTo>
                  <a:pt x="17190" y="20649"/>
                </a:lnTo>
                <a:cubicBezTo>
                  <a:pt x="17219" y="21174"/>
                  <a:pt x="17640" y="21578"/>
                  <a:pt x="18152" y="21578"/>
                </a:cubicBezTo>
                <a:cubicBezTo>
                  <a:pt x="18167" y="21578"/>
                  <a:pt x="18197" y="21578"/>
                  <a:pt x="18217" y="21578"/>
                </a:cubicBezTo>
                <a:cubicBezTo>
                  <a:pt x="18753" y="21543"/>
                  <a:pt x="19165" y="21082"/>
                  <a:pt x="19134" y="20539"/>
                </a:cubicBezTo>
                <a:lnTo>
                  <a:pt x="18763" y="14083"/>
                </a:lnTo>
                <a:lnTo>
                  <a:pt x="18763" y="11364"/>
                </a:lnTo>
                <a:lnTo>
                  <a:pt x="19615" y="13597"/>
                </a:lnTo>
                <a:cubicBezTo>
                  <a:pt x="19808" y="14102"/>
                  <a:pt x="20362" y="14346"/>
                  <a:pt x="20860" y="14149"/>
                </a:cubicBezTo>
                <a:cubicBezTo>
                  <a:pt x="21356" y="13956"/>
                  <a:pt x="21600" y="13395"/>
                  <a:pt x="21406" y="12889"/>
                </a:cubicBezTo>
                <a:lnTo>
                  <a:pt x="19637" y="8224"/>
                </a:lnTo>
                <a:cubicBezTo>
                  <a:pt x="19494" y="7850"/>
                  <a:pt x="19143" y="7583"/>
                  <a:pt x="18741" y="7583"/>
                </a:cubicBezTo>
                <a:lnTo>
                  <a:pt x="17780" y="7583"/>
                </a:lnTo>
                <a:cubicBezTo>
                  <a:pt x="17512" y="7583"/>
                  <a:pt x="17280" y="7714"/>
                  <a:pt x="17103" y="7893"/>
                </a:cubicBezTo>
                <a:lnTo>
                  <a:pt x="17562" y="11231"/>
                </a:lnTo>
                <a:lnTo>
                  <a:pt x="16863" y="11828"/>
                </a:lnTo>
                <a:lnTo>
                  <a:pt x="16186" y="11231"/>
                </a:lnTo>
                <a:lnTo>
                  <a:pt x="16623" y="7893"/>
                </a:lnTo>
                <a:cubicBezTo>
                  <a:pt x="16448" y="7714"/>
                  <a:pt x="16236" y="7583"/>
                  <a:pt x="15967" y="7583"/>
                </a:cubicBezTo>
                <a:lnTo>
                  <a:pt x="15115" y="7583"/>
                </a:lnTo>
                <a:lnTo>
                  <a:pt x="9567" y="6389"/>
                </a:lnTo>
                <a:close/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defTabSz="304792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000"/>
          </a:p>
        </p:txBody>
      </p:sp>
      <p:sp>
        <p:nvSpPr>
          <p:cNvPr id="88" name="Shape 24094">
            <a:extLst>
              <a:ext uri="{FF2B5EF4-FFF2-40B4-BE49-F238E27FC236}">
                <a16:creationId xmlns:a16="http://schemas.microsoft.com/office/drawing/2014/main" id="{73C6DCDD-D840-8C11-76CE-5F7EFB918C20}"/>
              </a:ext>
            </a:extLst>
          </p:cNvPr>
          <p:cNvSpPr/>
          <p:nvPr/>
        </p:nvSpPr>
        <p:spPr>
          <a:xfrm>
            <a:off x="10004243" y="1887706"/>
            <a:ext cx="583203" cy="51839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200" y="6749"/>
                </a:moveTo>
                <a:cubicBezTo>
                  <a:pt x="19200" y="7201"/>
                  <a:pt x="19083" y="9449"/>
                  <a:pt x="16799" y="9449"/>
                </a:cubicBezTo>
                <a:lnTo>
                  <a:pt x="16799" y="5398"/>
                </a:lnTo>
                <a:lnTo>
                  <a:pt x="19200" y="5398"/>
                </a:lnTo>
                <a:cubicBezTo>
                  <a:pt x="19200" y="5398"/>
                  <a:pt x="19200" y="6749"/>
                  <a:pt x="19200" y="6749"/>
                </a:cubicBezTo>
                <a:close/>
                <a:moveTo>
                  <a:pt x="14399" y="10292"/>
                </a:moveTo>
                <a:lnTo>
                  <a:pt x="14097" y="11067"/>
                </a:lnTo>
                <a:cubicBezTo>
                  <a:pt x="13523" y="12543"/>
                  <a:pt x="12229" y="13499"/>
                  <a:pt x="10799" y="13499"/>
                </a:cubicBezTo>
                <a:cubicBezTo>
                  <a:pt x="9369" y="13499"/>
                  <a:pt x="8077" y="12543"/>
                  <a:pt x="7503" y="11067"/>
                </a:cubicBezTo>
                <a:lnTo>
                  <a:pt x="7202" y="10292"/>
                </a:lnTo>
                <a:lnTo>
                  <a:pt x="7202" y="2699"/>
                </a:lnTo>
                <a:lnTo>
                  <a:pt x="14399" y="2699"/>
                </a:lnTo>
                <a:cubicBezTo>
                  <a:pt x="14399" y="2699"/>
                  <a:pt x="14399" y="10292"/>
                  <a:pt x="14399" y="10292"/>
                </a:cubicBezTo>
                <a:close/>
                <a:moveTo>
                  <a:pt x="4799" y="9449"/>
                </a:moveTo>
                <a:cubicBezTo>
                  <a:pt x="2608" y="9449"/>
                  <a:pt x="2408" y="7375"/>
                  <a:pt x="2400" y="6749"/>
                </a:cubicBezTo>
                <a:lnTo>
                  <a:pt x="2400" y="5398"/>
                </a:lnTo>
                <a:lnTo>
                  <a:pt x="4799" y="5398"/>
                </a:lnTo>
                <a:cubicBezTo>
                  <a:pt x="4799" y="5398"/>
                  <a:pt x="4799" y="9449"/>
                  <a:pt x="4799" y="9449"/>
                </a:cubicBezTo>
                <a:close/>
                <a:moveTo>
                  <a:pt x="20399" y="2699"/>
                </a:moveTo>
                <a:lnTo>
                  <a:pt x="16799" y="2699"/>
                </a:lnTo>
                <a:lnTo>
                  <a:pt x="16799" y="1351"/>
                </a:lnTo>
                <a:cubicBezTo>
                  <a:pt x="16799" y="603"/>
                  <a:pt x="16263" y="0"/>
                  <a:pt x="15600" y="0"/>
                </a:cubicBezTo>
                <a:lnTo>
                  <a:pt x="6000" y="0"/>
                </a:lnTo>
                <a:cubicBezTo>
                  <a:pt x="5338" y="0"/>
                  <a:pt x="4799" y="603"/>
                  <a:pt x="4799" y="1351"/>
                </a:cubicBezTo>
                <a:lnTo>
                  <a:pt x="4799" y="2699"/>
                </a:lnTo>
                <a:lnTo>
                  <a:pt x="1202" y="2699"/>
                </a:lnTo>
                <a:cubicBezTo>
                  <a:pt x="537" y="2699"/>
                  <a:pt x="0" y="3302"/>
                  <a:pt x="0" y="4051"/>
                </a:cubicBezTo>
                <a:lnTo>
                  <a:pt x="0" y="6749"/>
                </a:lnTo>
                <a:cubicBezTo>
                  <a:pt x="0" y="8918"/>
                  <a:pt x="1278" y="12148"/>
                  <a:pt x="4799" y="12148"/>
                </a:cubicBezTo>
                <a:lnTo>
                  <a:pt x="5303" y="12148"/>
                </a:lnTo>
                <a:cubicBezTo>
                  <a:pt x="6229" y="14534"/>
                  <a:pt x="8341" y="16198"/>
                  <a:pt x="10799" y="16198"/>
                </a:cubicBezTo>
                <a:cubicBezTo>
                  <a:pt x="13259" y="16198"/>
                  <a:pt x="15371" y="14534"/>
                  <a:pt x="16297" y="12148"/>
                </a:cubicBezTo>
                <a:lnTo>
                  <a:pt x="16799" y="12148"/>
                </a:lnTo>
                <a:cubicBezTo>
                  <a:pt x="20320" y="12148"/>
                  <a:pt x="21600" y="8918"/>
                  <a:pt x="21600" y="6749"/>
                </a:cubicBezTo>
                <a:lnTo>
                  <a:pt x="21600" y="4051"/>
                </a:lnTo>
                <a:cubicBezTo>
                  <a:pt x="21600" y="3302"/>
                  <a:pt x="21063" y="2699"/>
                  <a:pt x="20399" y="2699"/>
                </a:cubicBezTo>
                <a:cubicBezTo>
                  <a:pt x="20399" y="2699"/>
                  <a:pt x="20399" y="2699"/>
                  <a:pt x="20399" y="2699"/>
                </a:cubicBezTo>
                <a:close/>
                <a:moveTo>
                  <a:pt x="9601" y="18897"/>
                </a:moveTo>
                <a:lnTo>
                  <a:pt x="8400" y="18897"/>
                </a:lnTo>
                <a:cubicBezTo>
                  <a:pt x="7075" y="18897"/>
                  <a:pt x="6000" y="20107"/>
                  <a:pt x="6000" y="21600"/>
                </a:cubicBezTo>
                <a:lnTo>
                  <a:pt x="15600" y="21600"/>
                </a:lnTo>
                <a:cubicBezTo>
                  <a:pt x="15600" y="20107"/>
                  <a:pt x="14525" y="18897"/>
                  <a:pt x="13201" y="18897"/>
                </a:cubicBezTo>
                <a:lnTo>
                  <a:pt x="12000" y="18897"/>
                </a:lnTo>
                <a:lnTo>
                  <a:pt x="12000" y="16198"/>
                </a:lnTo>
                <a:lnTo>
                  <a:pt x="9601" y="16198"/>
                </a:lnTo>
                <a:cubicBezTo>
                  <a:pt x="9601" y="16198"/>
                  <a:pt x="9601" y="18897"/>
                  <a:pt x="9601" y="18897"/>
                </a:cubicBezTo>
                <a:close/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defTabSz="304792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000"/>
          </a:p>
        </p:txBody>
      </p:sp>
      <p:sp>
        <p:nvSpPr>
          <p:cNvPr id="96" name="Freeform 318">
            <a:extLst>
              <a:ext uri="{FF2B5EF4-FFF2-40B4-BE49-F238E27FC236}">
                <a16:creationId xmlns:a16="http://schemas.microsoft.com/office/drawing/2014/main" id="{DC7D09A1-191D-B7D4-4C9C-413A83E0CB53}"/>
              </a:ext>
            </a:extLst>
          </p:cNvPr>
          <p:cNvSpPr>
            <a:spLocks noEditPoints="1"/>
          </p:cNvSpPr>
          <p:nvPr/>
        </p:nvSpPr>
        <p:spPr bwMode="auto">
          <a:xfrm>
            <a:off x="7348835" y="1869486"/>
            <a:ext cx="288825" cy="359271"/>
          </a:xfrm>
          <a:custGeom>
            <a:avLst/>
            <a:gdLst/>
            <a:ahLst/>
            <a:cxnLst>
              <a:cxn ang="0">
                <a:pos x="29" y="8"/>
              </a:cxn>
              <a:cxn ang="0">
                <a:pos x="50" y="27"/>
              </a:cxn>
              <a:cxn ang="0">
                <a:pos x="43" y="42"/>
              </a:cxn>
              <a:cxn ang="0">
                <a:pos x="36" y="56"/>
              </a:cxn>
              <a:cxn ang="0">
                <a:pos x="35" y="57"/>
              </a:cxn>
              <a:cxn ang="0">
                <a:pos x="29" y="58"/>
              </a:cxn>
              <a:cxn ang="0">
                <a:pos x="22" y="57"/>
              </a:cxn>
              <a:cxn ang="0">
                <a:pos x="21" y="56"/>
              </a:cxn>
              <a:cxn ang="0">
                <a:pos x="14" y="42"/>
              </a:cxn>
              <a:cxn ang="0">
                <a:pos x="7" y="27"/>
              </a:cxn>
              <a:cxn ang="0">
                <a:pos x="29" y="8"/>
              </a:cxn>
              <a:cxn ang="0">
                <a:pos x="49" y="8"/>
              </a:cxn>
              <a:cxn ang="0">
                <a:pos x="29" y="0"/>
              </a:cxn>
              <a:cxn ang="0">
                <a:pos x="9" y="8"/>
              </a:cxn>
              <a:cxn ang="0">
                <a:pos x="0" y="27"/>
              </a:cxn>
              <a:cxn ang="0">
                <a:pos x="9" y="48"/>
              </a:cxn>
              <a:cxn ang="0">
                <a:pos x="10" y="48"/>
              </a:cxn>
              <a:cxn ang="0">
                <a:pos x="14" y="55"/>
              </a:cxn>
              <a:cxn ang="0">
                <a:pos x="13" y="58"/>
              </a:cxn>
              <a:cxn ang="0">
                <a:pos x="19" y="65"/>
              </a:cxn>
              <a:cxn ang="0">
                <a:pos x="19" y="66"/>
              </a:cxn>
              <a:cxn ang="0">
                <a:pos x="29" y="70"/>
              </a:cxn>
              <a:cxn ang="0">
                <a:pos x="38" y="66"/>
              </a:cxn>
              <a:cxn ang="0">
                <a:pos x="39" y="65"/>
              </a:cxn>
              <a:cxn ang="0">
                <a:pos x="45" y="58"/>
              </a:cxn>
              <a:cxn ang="0">
                <a:pos x="43" y="55"/>
              </a:cxn>
              <a:cxn ang="0">
                <a:pos x="48" y="48"/>
              </a:cxn>
              <a:cxn ang="0">
                <a:pos x="48" y="48"/>
              </a:cxn>
              <a:cxn ang="0">
                <a:pos x="57" y="27"/>
              </a:cxn>
              <a:cxn ang="0">
                <a:pos x="49" y="8"/>
              </a:cxn>
            </a:cxnLst>
            <a:rect l="0" t="0" r="r" b="b"/>
            <a:pathLst>
              <a:path w="57" h="70">
                <a:moveTo>
                  <a:pt x="29" y="8"/>
                </a:moveTo>
                <a:cubicBezTo>
                  <a:pt x="41" y="8"/>
                  <a:pt x="50" y="16"/>
                  <a:pt x="50" y="27"/>
                </a:cubicBezTo>
                <a:cubicBezTo>
                  <a:pt x="50" y="36"/>
                  <a:pt x="47" y="39"/>
                  <a:pt x="43" y="42"/>
                </a:cubicBezTo>
                <a:cubicBezTo>
                  <a:pt x="40" y="46"/>
                  <a:pt x="36" y="50"/>
                  <a:pt x="36" y="56"/>
                </a:cubicBezTo>
                <a:cubicBezTo>
                  <a:pt x="36" y="56"/>
                  <a:pt x="36" y="57"/>
                  <a:pt x="35" y="57"/>
                </a:cubicBezTo>
                <a:cubicBezTo>
                  <a:pt x="35" y="57"/>
                  <a:pt x="33" y="58"/>
                  <a:pt x="29" y="58"/>
                </a:cubicBezTo>
                <a:cubicBezTo>
                  <a:pt x="24" y="58"/>
                  <a:pt x="23" y="57"/>
                  <a:pt x="22" y="57"/>
                </a:cubicBezTo>
                <a:cubicBezTo>
                  <a:pt x="21" y="57"/>
                  <a:pt x="21" y="56"/>
                  <a:pt x="21" y="56"/>
                </a:cubicBezTo>
                <a:cubicBezTo>
                  <a:pt x="21" y="49"/>
                  <a:pt x="17" y="45"/>
                  <a:pt x="14" y="42"/>
                </a:cubicBezTo>
                <a:cubicBezTo>
                  <a:pt x="11" y="39"/>
                  <a:pt x="7" y="36"/>
                  <a:pt x="7" y="27"/>
                </a:cubicBezTo>
                <a:cubicBezTo>
                  <a:pt x="7" y="16"/>
                  <a:pt x="16" y="8"/>
                  <a:pt x="29" y="8"/>
                </a:cubicBezTo>
                <a:moveTo>
                  <a:pt x="49" y="8"/>
                </a:moveTo>
                <a:cubicBezTo>
                  <a:pt x="43" y="3"/>
                  <a:pt x="36" y="0"/>
                  <a:pt x="29" y="0"/>
                </a:cubicBezTo>
                <a:cubicBezTo>
                  <a:pt x="21" y="0"/>
                  <a:pt x="14" y="3"/>
                  <a:pt x="9" y="8"/>
                </a:cubicBezTo>
                <a:cubicBezTo>
                  <a:pt x="3" y="13"/>
                  <a:pt x="0" y="20"/>
                  <a:pt x="0" y="27"/>
                </a:cubicBezTo>
                <a:cubicBezTo>
                  <a:pt x="0" y="39"/>
                  <a:pt x="5" y="44"/>
                  <a:pt x="9" y="48"/>
                </a:cubicBezTo>
                <a:cubicBezTo>
                  <a:pt x="10" y="48"/>
                  <a:pt x="10" y="48"/>
                  <a:pt x="10" y="48"/>
                </a:cubicBezTo>
                <a:cubicBezTo>
                  <a:pt x="12" y="50"/>
                  <a:pt x="15" y="52"/>
                  <a:pt x="14" y="55"/>
                </a:cubicBezTo>
                <a:cubicBezTo>
                  <a:pt x="14" y="56"/>
                  <a:pt x="13" y="57"/>
                  <a:pt x="13" y="58"/>
                </a:cubicBezTo>
                <a:cubicBezTo>
                  <a:pt x="13" y="61"/>
                  <a:pt x="13" y="64"/>
                  <a:pt x="19" y="65"/>
                </a:cubicBezTo>
                <a:cubicBezTo>
                  <a:pt x="19" y="66"/>
                  <a:pt x="19" y="66"/>
                  <a:pt x="19" y="66"/>
                </a:cubicBezTo>
                <a:cubicBezTo>
                  <a:pt x="21" y="68"/>
                  <a:pt x="23" y="70"/>
                  <a:pt x="29" y="70"/>
                </a:cubicBezTo>
                <a:cubicBezTo>
                  <a:pt x="34" y="70"/>
                  <a:pt x="37" y="68"/>
                  <a:pt x="38" y="66"/>
                </a:cubicBezTo>
                <a:cubicBezTo>
                  <a:pt x="38" y="66"/>
                  <a:pt x="38" y="66"/>
                  <a:pt x="39" y="65"/>
                </a:cubicBezTo>
                <a:cubicBezTo>
                  <a:pt x="44" y="64"/>
                  <a:pt x="45" y="60"/>
                  <a:pt x="45" y="58"/>
                </a:cubicBezTo>
                <a:cubicBezTo>
                  <a:pt x="45" y="57"/>
                  <a:pt x="44" y="56"/>
                  <a:pt x="43" y="55"/>
                </a:cubicBezTo>
                <a:cubicBezTo>
                  <a:pt x="42" y="52"/>
                  <a:pt x="45" y="50"/>
                  <a:pt x="48" y="48"/>
                </a:cubicBezTo>
                <a:cubicBezTo>
                  <a:pt x="48" y="48"/>
                  <a:pt x="48" y="48"/>
                  <a:pt x="48" y="48"/>
                </a:cubicBezTo>
                <a:cubicBezTo>
                  <a:pt x="52" y="44"/>
                  <a:pt x="57" y="39"/>
                  <a:pt x="57" y="27"/>
                </a:cubicBezTo>
                <a:cubicBezTo>
                  <a:pt x="57" y="20"/>
                  <a:pt x="54" y="13"/>
                  <a:pt x="49" y="8"/>
                </a:cubicBezTo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97" name="Freeform 319">
            <a:extLst>
              <a:ext uri="{FF2B5EF4-FFF2-40B4-BE49-F238E27FC236}">
                <a16:creationId xmlns:a16="http://schemas.microsoft.com/office/drawing/2014/main" id="{E48C8053-B06E-C7A0-DABB-1BCBA059541C}"/>
              </a:ext>
            </a:extLst>
          </p:cNvPr>
          <p:cNvSpPr>
            <a:spLocks noEditPoints="1"/>
          </p:cNvSpPr>
          <p:nvPr/>
        </p:nvSpPr>
        <p:spPr bwMode="auto">
          <a:xfrm>
            <a:off x="7190333" y="2274547"/>
            <a:ext cx="605829" cy="345181"/>
          </a:xfrm>
          <a:custGeom>
            <a:avLst/>
            <a:gdLst/>
            <a:ahLst/>
            <a:cxnLst>
              <a:cxn ang="0">
                <a:pos x="72" y="49"/>
              </a:cxn>
              <a:cxn ang="0">
                <a:pos x="62" y="59"/>
              </a:cxn>
              <a:cxn ang="0">
                <a:pos x="58" y="59"/>
              </a:cxn>
              <a:cxn ang="0">
                <a:pos x="48" y="49"/>
              </a:cxn>
              <a:cxn ang="0">
                <a:pos x="46" y="45"/>
              </a:cxn>
              <a:cxn ang="0">
                <a:pos x="52" y="20"/>
              </a:cxn>
              <a:cxn ang="0">
                <a:pos x="52" y="18"/>
              </a:cxn>
              <a:cxn ang="0">
                <a:pos x="52" y="12"/>
              </a:cxn>
              <a:cxn ang="0">
                <a:pos x="54" y="10"/>
              </a:cxn>
              <a:cxn ang="0">
                <a:pos x="66" y="10"/>
              </a:cxn>
              <a:cxn ang="0">
                <a:pos x="68" y="12"/>
              </a:cxn>
              <a:cxn ang="0">
                <a:pos x="67" y="18"/>
              </a:cxn>
              <a:cxn ang="0">
                <a:pos x="68" y="20"/>
              </a:cxn>
              <a:cxn ang="0">
                <a:pos x="73" y="45"/>
              </a:cxn>
              <a:cxn ang="0">
                <a:pos x="72" y="49"/>
              </a:cxn>
              <a:cxn ang="0">
                <a:pos x="119" y="65"/>
              </a:cxn>
              <a:cxn ang="0">
                <a:pos x="98" y="11"/>
              </a:cxn>
              <a:cxn ang="0">
                <a:pos x="85" y="0"/>
              </a:cxn>
              <a:cxn ang="0">
                <a:pos x="36" y="0"/>
              </a:cxn>
              <a:cxn ang="0">
                <a:pos x="34" y="0"/>
              </a:cxn>
              <a:cxn ang="0">
                <a:pos x="21" y="11"/>
              </a:cxn>
              <a:cxn ang="0">
                <a:pos x="1" y="65"/>
              </a:cxn>
              <a:cxn ang="0">
                <a:pos x="4" y="68"/>
              </a:cxn>
              <a:cxn ang="0">
                <a:pos x="19" y="68"/>
              </a:cxn>
              <a:cxn ang="0">
                <a:pos x="22" y="65"/>
              </a:cxn>
              <a:cxn ang="0">
                <a:pos x="32" y="39"/>
              </a:cxn>
              <a:cxn ang="0">
                <a:pos x="33" y="40"/>
              </a:cxn>
              <a:cxn ang="0">
                <a:pos x="33" y="64"/>
              </a:cxn>
              <a:cxn ang="0">
                <a:pos x="36" y="68"/>
              </a:cxn>
              <a:cxn ang="0">
                <a:pos x="86" y="68"/>
              </a:cxn>
              <a:cxn ang="0">
                <a:pos x="89" y="63"/>
              </a:cxn>
              <a:cxn ang="0">
                <a:pos x="89" y="39"/>
              </a:cxn>
              <a:cxn ang="0">
                <a:pos x="90" y="39"/>
              </a:cxn>
              <a:cxn ang="0">
                <a:pos x="99" y="65"/>
              </a:cxn>
              <a:cxn ang="0">
                <a:pos x="103" y="68"/>
              </a:cxn>
              <a:cxn ang="0">
                <a:pos x="116" y="68"/>
              </a:cxn>
              <a:cxn ang="0">
                <a:pos x="119" y="65"/>
              </a:cxn>
            </a:cxnLst>
            <a:rect l="0" t="0" r="r" b="b"/>
            <a:pathLst>
              <a:path w="119" h="68">
                <a:moveTo>
                  <a:pt x="72" y="49"/>
                </a:moveTo>
                <a:cubicBezTo>
                  <a:pt x="62" y="59"/>
                  <a:pt x="62" y="59"/>
                  <a:pt x="62" y="59"/>
                </a:cubicBezTo>
                <a:cubicBezTo>
                  <a:pt x="61" y="60"/>
                  <a:pt x="59" y="60"/>
                  <a:pt x="58" y="59"/>
                </a:cubicBezTo>
                <a:cubicBezTo>
                  <a:pt x="48" y="49"/>
                  <a:pt x="48" y="49"/>
                  <a:pt x="48" y="49"/>
                </a:cubicBezTo>
                <a:cubicBezTo>
                  <a:pt x="47" y="48"/>
                  <a:pt x="46" y="47"/>
                  <a:pt x="46" y="45"/>
                </a:cubicBezTo>
                <a:cubicBezTo>
                  <a:pt x="52" y="20"/>
                  <a:pt x="52" y="20"/>
                  <a:pt x="52" y="20"/>
                </a:cubicBezTo>
                <a:cubicBezTo>
                  <a:pt x="52" y="19"/>
                  <a:pt x="52" y="18"/>
                  <a:pt x="52" y="18"/>
                </a:cubicBezTo>
                <a:cubicBezTo>
                  <a:pt x="52" y="16"/>
                  <a:pt x="52" y="12"/>
                  <a:pt x="52" y="12"/>
                </a:cubicBezTo>
                <a:cubicBezTo>
                  <a:pt x="52" y="11"/>
                  <a:pt x="53" y="10"/>
                  <a:pt x="54" y="10"/>
                </a:cubicBezTo>
                <a:cubicBezTo>
                  <a:pt x="66" y="10"/>
                  <a:pt x="66" y="10"/>
                  <a:pt x="66" y="10"/>
                </a:cubicBezTo>
                <a:cubicBezTo>
                  <a:pt x="67" y="10"/>
                  <a:pt x="68" y="11"/>
                  <a:pt x="68" y="12"/>
                </a:cubicBezTo>
                <a:cubicBezTo>
                  <a:pt x="68" y="12"/>
                  <a:pt x="68" y="16"/>
                  <a:pt x="67" y="18"/>
                </a:cubicBezTo>
                <a:cubicBezTo>
                  <a:pt x="67" y="18"/>
                  <a:pt x="68" y="19"/>
                  <a:pt x="68" y="20"/>
                </a:cubicBezTo>
                <a:cubicBezTo>
                  <a:pt x="73" y="45"/>
                  <a:pt x="73" y="45"/>
                  <a:pt x="73" y="45"/>
                </a:cubicBezTo>
                <a:cubicBezTo>
                  <a:pt x="73" y="47"/>
                  <a:pt x="73" y="48"/>
                  <a:pt x="72" y="49"/>
                </a:cubicBezTo>
                <a:moveTo>
                  <a:pt x="119" y="65"/>
                </a:moveTo>
                <a:cubicBezTo>
                  <a:pt x="98" y="11"/>
                  <a:pt x="98" y="11"/>
                  <a:pt x="98" y="11"/>
                </a:cubicBezTo>
                <a:cubicBezTo>
                  <a:pt x="98" y="9"/>
                  <a:pt x="93" y="0"/>
                  <a:pt x="85" y="0"/>
                </a:cubicBezTo>
                <a:cubicBezTo>
                  <a:pt x="83" y="0"/>
                  <a:pt x="38" y="0"/>
                  <a:pt x="36" y="0"/>
                </a:cubicBezTo>
                <a:cubicBezTo>
                  <a:pt x="34" y="0"/>
                  <a:pt x="34" y="0"/>
                  <a:pt x="34" y="0"/>
                </a:cubicBezTo>
                <a:cubicBezTo>
                  <a:pt x="25" y="0"/>
                  <a:pt x="22" y="9"/>
                  <a:pt x="21" y="11"/>
                </a:cubicBezTo>
                <a:cubicBezTo>
                  <a:pt x="1" y="65"/>
                  <a:pt x="1" y="65"/>
                  <a:pt x="1" y="65"/>
                </a:cubicBezTo>
                <a:cubicBezTo>
                  <a:pt x="0" y="66"/>
                  <a:pt x="1" y="68"/>
                  <a:pt x="4" y="68"/>
                </a:cubicBezTo>
                <a:cubicBezTo>
                  <a:pt x="19" y="68"/>
                  <a:pt x="19" y="68"/>
                  <a:pt x="19" y="68"/>
                </a:cubicBezTo>
                <a:cubicBezTo>
                  <a:pt x="21" y="68"/>
                  <a:pt x="22" y="65"/>
                  <a:pt x="22" y="65"/>
                </a:cubicBezTo>
                <a:cubicBezTo>
                  <a:pt x="32" y="39"/>
                  <a:pt x="32" y="39"/>
                  <a:pt x="32" y="39"/>
                </a:cubicBezTo>
                <a:cubicBezTo>
                  <a:pt x="32" y="39"/>
                  <a:pt x="33" y="36"/>
                  <a:pt x="33" y="40"/>
                </a:cubicBezTo>
                <a:cubicBezTo>
                  <a:pt x="33" y="45"/>
                  <a:pt x="33" y="58"/>
                  <a:pt x="33" y="64"/>
                </a:cubicBezTo>
                <a:cubicBezTo>
                  <a:pt x="33" y="66"/>
                  <a:pt x="34" y="68"/>
                  <a:pt x="36" y="68"/>
                </a:cubicBezTo>
                <a:cubicBezTo>
                  <a:pt x="86" y="68"/>
                  <a:pt x="86" y="68"/>
                  <a:pt x="86" y="68"/>
                </a:cubicBezTo>
                <a:cubicBezTo>
                  <a:pt x="90" y="68"/>
                  <a:pt x="89" y="66"/>
                  <a:pt x="89" y="63"/>
                </a:cubicBezTo>
                <a:cubicBezTo>
                  <a:pt x="89" y="56"/>
                  <a:pt x="89" y="44"/>
                  <a:pt x="89" y="39"/>
                </a:cubicBezTo>
                <a:cubicBezTo>
                  <a:pt x="89" y="37"/>
                  <a:pt x="90" y="39"/>
                  <a:pt x="90" y="39"/>
                </a:cubicBezTo>
                <a:cubicBezTo>
                  <a:pt x="99" y="65"/>
                  <a:pt x="99" y="65"/>
                  <a:pt x="99" y="65"/>
                </a:cubicBezTo>
                <a:cubicBezTo>
                  <a:pt x="99" y="65"/>
                  <a:pt x="100" y="68"/>
                  <a:pt x="103" y="68"/>
                </a:cubicBezTo>
                <a:cubicBezTo>
                  <a:pt x="116" y="68"/>
                  <a:pt x="116" y="68"/>
                  <a:pt x="116" y="68"/>
                </a:cubicBezTo>
                <a:cubicBezTo>
                  <a:pt x="119" y="68"/>
                  <a:pt x="119" y="66"/>
                  <a:pt x="119" y="65"/>
                </a:cubicBezTo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98" name="Freeform 320">
            <a:extLst>
              <a:ext uri="{FF2B5EF4-FFF2-40B4-BE49-F238E27FC236}">
                <a16:creationId xmlns:a16="http://schemas.microsoft.com/office/drawing/2014/main" id="{2E03C79A-BB4F-3BF0-4AF2-C4988BAB1355}"/>
              </a:ext>
            </a:extLst>
          </p:cNvPr>
          <p:cNvSpPr>
            <a:spLocks/>
          </p:cNvSpPr>
          <p:nvPr/>
        </p:nvSpPr>
        <p:spPr bwMode="auto">
          <a:xfrm>
            <a:off x="7475636" y="1954020"/>
            <a:ext cx="38744" cy="116236"/>
          </a:xfrm>
          <a:custGeom>
            <a:avLst/>
            <a:gdLst/>
            <a:ahLst/>
            <a:cxnLst>
              <a:cxn ang="0">
                <a:pos x="6" y="21"/>
              </a:cxn>
              <a:cxn ang="0">
                <a:pos x="4" y="23"/>
              </a:cxn>
              <a:cxn ang="0">
                <a:pos x="1" y="21"/>
              </a:cxn>
              <a:cxn ang="0">
                <a:pos x="0" y="3"/>
              </a:cxn>
              <a:cxn ang="0">
                <a:pos x="4" y="0"/>
              </a:cxn>
              <a:cxn ang="0">
                <a:pos x="8" y="3"/>
              </a:cxn>
              <a:cxn ang="0">
                <a:pos x="6" y="21"/>
              </a:cxn>
            </a:cxnLst>
            <a:rect l="0" t="0" r="r" b="b"/>
            <a:pathLst>
              <a:path w="8" h="23">
                <a:moveTo>
                  <a:pt x="6" y="21"/>
                </a:moveTo>
                <a:cubicBezTo>
                  <a:pt x="6" y="22"/>
                  <a:pt x="5" y="23"/>
                  <a:pt x="4" y="23"/>
                </a:cubicBezTo>
                <a:cubicBezTo>
                  <a:pt x="2" y="23"/>
                  <a:pt x="1" y="22"/>
                  <a:pt x="1" y="21"/>
                </a:cubicBezTo>
                <a:cubicBezTo>
                  <a:pt x="0" y="3"/>
                  <a:pt x="0" y="3"/>
                  <a:pt x="0" y="3"/>
                </a:cubicBezTo>
                <a:cubicBezTo>
                  <a:pt x="0" y="1"/>
                  <a:pt x="1" y="0"/>
                  <a:pt x="4" y="0"/>
                </a:cubicBezTo>
                <a:cubicBezTo>
                  <a:pt x="6" y="0"/>
                  <a:pt x="8" y="1"/>
                  <a:pt x="8" y="3"/>
                </a:cubicBezTo>
                <a:lnTo>
                  <a:pt x="6" y="21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99" name="Oval 321">
            <a:extLst>
              <a:ext uri="{FF2B5EF4-FFF2-40B4-BE49-F238E27FC236}">
                <a16:creationId xmlns:a16="http://schemas.microsoft.com/office/drawing/2014/main" id="{F4C284F3-37EC-7EAA-5B42-C5C133A7F99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79158" y="2091390"/>
            <a:ext cx="31699" cy="35223"/>
          </a:xfrm>
          <a:prstGeom prst="ellipse">
            <a:avLst/>
          </a:pr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00" name="Freeform 322">
            <a:extLst>
              <a:ext uri="{FF2B5EF4-FFF2-40B4-BE49-F238E27FC236}">
                <a16:creationId xmlns:a16="http://schemas.microsoft.com/office/drawing/2014/main" id="{00B9B877-6C77-BCDE-2761-CB136BEFD756}"/>
              </a:ext>
            </a:extLst>
          </p:cNvPr>
          <p:cNvSpPr>
            <a:spLocks/>
          </p:cNvSpPr>
          <p:nvPr/>
        </p:nvSpPr>
        <p:spPr bwMode="auto">
          <a:xfrm>
            <a:off x="7475636" y="1735640"/>
            <a:ext cx="38744" cy="91579"/>
          </a:xfrm>
          <a:custGeom>
            <a:avLst/>
            <a:gdLst/>
            <a:ahLst/>
            <a:cxnLst>
              <a:cxn ang="0">
                <a:pos x="4" y="18"/>
              </a:cxn>
              <a:cxn ang="0">
                <a:pos x="0" y="14"/>
              </a:cxn>
              <a:cxn ang="0">
                <a:pos x="0" y="4"/>
              </a:cxn>
              <a:cxn ang="0">
                <a:pos x="4" y="0"/>
              </a:cxn>
              <a:cxn ang="0">
                <a:pos x="8" y="4"/>
              </a:cxn>
              <a:cxn ang="0">
                <a:pos x="8" y="14"/>
              </a:cxn>
              <a:cxn ang="0">
                <a:pos x="4" y="18"/>
              </a:cxn>
            </a:cxnLst>
            <a:rect l="0" t="0" r="r" b="b"/>
            <a:pathLst>
              <a:path w="8" h="18">
                <a:moveTo>
                  <a:pt x="4" y="18"/>
                </a:moveTo>
                <a:cubicBezTo>
                  <a:pt x="1" y="18"/>
                  <a:pt x="0" y="17"/>
                  <a:pt x="0" y="14"/>
                </a:cubicBezTo>
                <a:cubicBezTo>
                  <a:pt x="0" y="4"/>
                  <a:pt x="0" y="4"/>
                  <a:pt x="0" y="4"/>
                </a:cubicBezTo>
                <a:cubicBezTo>
                  <a:pt x="0" y="2"/>
                  <a:pt x="1" y="0"/>
                  <a:pt x="4" y="0"/>
                </a:cubicBezTo>
                <a:cubicBezTo>
                  <a:pt x="6" y="0"/>
                  <a:pt x="8" y="2"/>
                  <a:pt x="8" y="4"/>
                </a:cubicBezTo>
                <a:cubicBezTo>
                  <a:pt x="8" y="14"/>
                  <a:pt x="8" y="14"/>
                  <a:pt x="8" y="14"/>
                </a:cubicBezTo>
                <a:cubicBezTo>
                  <a:pt x="8" y="17"/>
                  <a:pt x="6" y="18"/>
                  <a:pt x="4" y="18"/>
                </a:cubicBezTo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01" name="Freeform 323">
            <a:extLst>
              <a:ext uri="{FF2B5EF4-FFF2-40B4-BE49-F238E27FC236}">
                <a16:creationId xmlns:a16="http://schemas.microsoft.com/office/drawing/2014/main" id="{734FFC00-55C9-23F2-913F-0A44AEA61A2B}"/>
              </a:ext>
            </a:extLst>
          </p:cNvPr>
          <p:cNvSpPr>
            <a:spLocks/>
          </p:cNvSpPr>
          <p:nvPr/>
        </p:nvSpPr>
        <p:spPr bwMode="auto">
          <a:xfrm>
            <a:off x="7637660" y="1827219"/>
            <a:ext cx="91579" cy="70445"/>
          </a:xfrm>
          <a:custGeom>
            <a:avLst/>
            <a:gdLst/>
            <a:ahLst/>
            <a:cxnLst>
              <a:cxn ang="0">
                <a:pos x="4" y="14"/>
              </a:cxn>
              <a:cxn ang="0">
                <a:pos x="1" y="12"/>
              </a:cxn>
              <a:cxn ang="0">
                <a:pos x="2" y="6"/>
              </a:cxn>
              <a:cxn ang="0">
                <a:pos x="11" y="1"/>
              </a:cxn>
              <a:cxn ang="0">
                <a:pos x="17" y="2"/>
              </a:cxn>
              <a:cxn ang="0">
                <a:pos x="15" y="8"/>
              </a:cxn>
              <a:cxn ang="0">
                <a:pos x="6" y="13"/>
              </a:cxn>
              <a:cxn ang="0">
                <a:pos x="4" y="14"/>
              </a:cxn>
            </a:cxnLst>
            <a:rect l="0" t="0" r="r" b="b"/>
            <a:pathLst>
              <a:path w="18" h="14">
                <a:moveTo>
                  <a:pt x="4" y="14"/>
                </a:moveTo>
                <a:cubicBezTo>
                  <a:pt x="3" y="14"/>
                  <a:pt x="2" y="13"/>
                  <a:pt x="1" y="12"/>
                </a:cubicBezTo>
                <a:cubicBezTo>
                  <a:pt x="0" y="10"/>
                  <a:pt x="0" y="8"/>
                  <a:pt x="2" y="6"/>
                </a:cubicBezTo>
                <a:cubicBezTo>
                  <a:pt x="11" y="1"/>
                  <a:pt x="11" y="1"/>
                  <a:pt x="11" y="1"/>
                </a:cubicBezTo>
                <a:cubicBezTo>
                  <a:pt x="13" y="0"/>
                  <a:pt x="16" y="0"/>
                  <a:pt x="17" y="2"/>
                </a:cubicBezTo>
                <a:cubicBezTo>
                  <a:pt x="18" y="4"/>
                  <a:pt x="17" y="7"/>
                  <a:pt x="15" y="8"/>
                </a:cubicBezTo>
                <a:cubicBezTo>
                  <a:pt x="6" y="13"/>
                  <a:pt x="6" y="13"/>
                  <a:pt x="6" y="13"/>
                </a:cubicBezTo>
                <a:cubicBezTo>
                  <a:pt x="6" y="14"/>
                  <a:pt x="5" y="14"/>
                  <a:pt x="4" y="14"/>
                </a:cubicBezTo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02" name="Freeform 324">
            <a:extLst>
              <a:ext uri="{FF2B5EF4-FFF2-40B4-BE49-F238E27FC236}">
                <a16:creationId xmlns:a16="http://schemas.microsoft.com/office/drawing/2014/main" id="{0FDA7255-9240-46BB-6137-6A393657FA8C}"/>
              </a:ext>
            </a:extLst>
          </p:cNvPr>
          <p:cNvSpPr>
            <a:spLocks/>
          </p:cNvSpPr>
          <p:nvPr/>
        </p:nvSpPr>
        <p:spPr bwMode="auto">
          <a:xfrm>
            <a:off x="7257255" y="1827219"/>
            <a:ext cx="95100" cy="70445"/>
          </a:xfrm>
          <a:custGeom>
            <a:avLst/>
            <a:gdLst/>
            <a:ahLst/>
            <a:cxnLst>
              <a:cxn ang="0">
                <a:pos x="14" y="14"/>
              </a:cxn>
              <a:cxn ang="0">
                <a:pos x="12" y="13"/>
              </a:cxn>
              <a:cxn ang="0">
                <a:pos x="3" y="8"/>
              </a:cxn>
              <a:cxn ang="0">
                <a:pos x="1" y="2"/>
              </a:cxn>
              <a:cxn ang="0">
                <a:pos x="7" y="1"/>
              </a:cxn>
              <a:cxn ang="0">
                <a:pos x="16" y="6"/>
              </a:cxn>
              <a:cxn ang="0">
                <a:pos x="17" y="12"/>
              </a:cxn>
              <a:cxn ang="0">
                <a:pos x="14" y="14"/>
              </a:cxn>
            </a:cxnLst>
            <a:rect l="0" t="0" r="r" b="b"/>
            <a:pathLst>
              <a:path w="19" h="14">
                <a:moveTo>
                  <a:pt x="14" y="14"/>
                </a:moveTo>
                <a:cubicBezTo>
                  <a:pt x="13" y="14"/>
                  <a:pt x="12" y="14"/>
                  <a:pt x="12" y="13"/>
                </a:cubicBezTo>
                <a:cubicBezTo>
                  <a:pt x="3" y="8"/>
                  <a:pt x="3" y="8"/>
                  <a:pt x="3" y="8"/>
                </a:cubicBezTo>
                <a:cubicBezTo>
                  <a:pt x="1" y="7"/>
                  <a:pt x="0" y="4"/>
                  <a:pt x="1" y="2"/>
                </a:cubicBezTo>
                <a:cubicBezTo>
                  <a:pt x="3" y="0"/>
                  <a:pt x="5" y="0"/>
                  <a:pt x="7" y="1"/>
                </a:cubicBezTo>
                <a:cubicBezTo>
                  <a:pt x="16" y="6"/>
                  <a:pt x="16" y="6"/>
                  <a:pt x="16" y="6"/>
                </a:cubicBezTo>
                <a:cubicBezTo>
                  <a:pt x="18" y="8"/>
                  <a:pt x="19" y="10"/>
                  <a:pt x="17" y="12"/>
                </a:cubicBezTo>
                <a:cubicBezTo>
                  <a:pt x="17" y="13"/>
                  <a:pt x="15" y="14"/>
                  <a:pt x="14" y="14"/>
                </a:cubicBezTo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grpSp>
        <p:nvGrpSpPr>
          <p:cNvPr id="104" name="Group 420">
            <a:extLst>
              <a:ext uri="{FF2B5EF4-FFF2-40B4-BE49-F238E27FC236}">
                <a16:creationId xmlns:a16="http://schemas.microsoft.com/office/drawing/2014/main" id="{8E9FD409-2A51-A6E0-C925-4DFCD690B25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642523" y="1812415"/>
            <a:ext cx="606203" cy="759696"/>
            <a:chOff x="4504" y="811"/>
            <a:chExt cx="2496" cy="3128"/>
          </a:xfrm>
          <a:solidFill>
            <a:schemeClr val="bg1"/>
          </a:solidFill>
        </p:grpSpPr>
        <p:sp>
          <p:nvSpPr>
            <p:cNvPr id="105" name="Freeform 422">
              <a:extLst>
                <a:ext uri="{FF2B5EF4-FFF2-40B4-BE49-F238E27FC236}">
                  <a16:creationId xmlns:a16="http://schemas.microsoft.com/office/drawing/2014/main" id="{8241BE7A-F195-C7E9-5E48-54198D108B7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04" y="811"/>
              <a:ext cx="2496" cy="2550"/>
            </a:xfrm>
            <a:custGeom>
              <a:avLst/>
              <a:gdLst>
                <a:gd name="T0" fmla="*/ 1847 w 4993"/>
                <a:gd name="T1" fmla="*/ 1018 h 5101"/>
                <a:gd name="T2" fmla="*/ 1232 w 4993"/>
                <a:gd name="T3" fmla="*/ 1467 h 5101"/>
                <a:gd name="T4" fmla="*/ 880 w 4993"/>
                <a:gd name="T5" fmla="*/ 2152 h 5101"/>
                <a:gd name="T6" fmla="*/ 880 w 4993"/>
                <a:gd name="T7" fmla="*/ 2950 h 5101"/>
                <a:gd name="T8" fmla="*/ 1232 w 4993"/>
                <a:gd name="T9" fmla="*/ 3634 h 5101"/>
                <a:gd name="T10" fmla="*/ 1847 w 4993"/>
                <a:gd name="T11" fmla="*/ 4084 h 5101"/>
                <a:gd name="T12" fmla="*/ 2630 w 4993"/>
                <a:gd name="T13" fmla="*/ 4209 h 5101"/>
                <a:gd name="T14" fmla="*/ 3370 w 4993"/>
                <a:gd name="T15" fmla="*/ 3965 h 5101"/>
                <a:gd name="T16" fmla="*/ 3907 w 4993"/>
                <a:gd name="T17" fmla="*/ 3426 h 5101"/>
                <a:gd name="T18" fmla="*/ 4151 w 4993"/>
                <a:gd name="T19" fmla="*/ 2687 h 5101"/>
                <a:gd name="T20" fmla="*/ 4025 w 4993"/>
                <a:gd name="T21" fmla="*/ 1904 h 5101"/>
                <a:gd name="T22" fmla="*/ 3576 w 4993"/>
                <a:gd name="T23" fmla="*/ 1288 h 5101"/>
                <a:gd name="T24" fmla="*/ 2892 w 4993"/>
                <a:gd name="T25" fmla="*/ 936 h 5101"/>
                <a:gd name="T26" fmla="*/ 2586 w 4993"/>
                <a:gd name="T27" fmla="*/ 17 h 5101"/>
                <a:gd name="T28" fmla="*/ 2894 w 4993"/>
                <a:gd name="T29" fmla="*/ 275 h 5101"/>
                <a:gd name="T30" fmla="*/ 3193 w 4993"/>
                <a:gd name="T31" fmla="*/ 292 h 5101"/>
                <a:gd name="T32" fmla="*/ 3585 w 4993"/>
                <a:gd name="T33" fmla="*/ 244 h 5101"/>
                <a:gd name="T34" fmla="*/ 3799 w 4993"/>
                <a:gd name="T35" fmla="*/ 578 h 5101"/>
                <a:gd name="T36" fmla="*/ 4044 w 4993"/>
                <a:gd name="T37" fmla="*/ 810 h 5101"/>
                <a:gd name="T38" fmla="*/ 4440 w 4993"/>
                <a:gd name="T39" fmla="*/ 905 h 5101"/>
                <a:gd name="T40" fmla="*/ 4547 w 4993"/>
                <a:gd name="T41" fmla="*/ 1210 h 5101"/>
                <a:gd name="T42" fmla="*/ 4579 w 4993"/>
                <a:gd name="T43" fmla="*/ 1584 h 5101"/>
                <a:gd name="T44" fmla="*/ 4894 w 4993"/>
                <a:gd name="T45" fmla="*/ 1812 h 5101"/>
                <a:gd name="T46" fmla="*/ 4981 w 4993"/>
                <a:gd name="T47" fmla="*/ 2091 h 5101"/>
                <a:gd name="T48" fmla="*/ 4798 w 4993"/>
                <a:gd name="T49" fmla="*/ 2447 h 5101"/>
                <a:gd name="T50" fmla="*/ 4928 w 4993"/>
                <a:gd name="T51" fmla="*/ 2832 h 5101"/>
                <a:gd name="T52" fmla="*/ 4977 w 4993"/>
                <a:gd name="T53" fmla="*/ 3123 h 5101"/>
                <a:gd name="T54" fmla="*/ 4707 w 4993"/>
                <a:gd name="T55" fmla="*/ 3382 h 5101"/>
                <a:gd name="T56" fmla="*/ 4539 w 4993"/>
                <a:gd name="T57" fmla="*/ 3628 h 5101"/>
                <a:gd name="T58" fmla="*/ 4553 w 4993"/>
                <a:gd name="T59" fmla="*/ 4030 h 5101"/>
                <a:gd name="T60" fmla="*/ 4317 w 4993"/>
                <a:gd name="T61" fmla="*/ 4244 h 5101"/>
                <a:gd name="T62" fmla="*/ 3917 w 4993"/>
                <a:gd name="T63" fmla="*/ 4354 h 5101"/>
                <a:gd name="T64" fmla="*/ 3743 w 4993"/>
                <a:gd name="T65" fmla="*/ 4735 h 5101"/>
                <a:gd name="T66" fmla="*/ 3458 w 4993"/>
                <a:gd name="T67" fmla="*/ 4874 h 5101"/>
                <a:gd name="T68" fmla="*/ 3073 w 4993"/>
                <a:gd name="T69" fmla="*/ 4775 h 5101"/>
                <a:gd name="T70" fmla="*/ 2763 w 4993"/>
                <a:gd name="T71" fmla="*/ 4989 h 5101"/>
                <a:gd name="T72" fmla="*/ 2460 w 4993"/>
                <a:gd name="T73" fmla="*/ 5097 h 5101"/>
                <a:gd name="T74" fmla="*/ 2140 w 4993"/>
                <a:gd name="T75" fmla="*/ 4857 h 5101"/>
                <a:gd name="T76" fmla="*/ 1849 w 4993"/>
                <a:gd name="T77" fmla="*/ 4794 h 5101"/>
                <a:gd name="T78" fmla="*/ 1457 w 4993"/>
                <a:gd name="T79" fmla="*/ 4876 h 5101"/>
                <a:gd name="T80" fmla="*/ 1228 w 4993"/>
                <a:gd name="T81" fmla="*/ 4650 h 5101"/>
                <a:gd name="T82" fmla="*/ 1003 w 4993"/>
                <a:gd name="T83" fmla="*/ 4312 h 5101"/>
                <a:gd name="T84" fmla="*/ 596 w 4993"/>
                <a:gd name="T85" fmla="*/ 4230 h 5101"/>
                <a:gd name="T86" fmla="*/ 440 w 4993"/>
                <a:gd name="T87" fmla="*/ 3952 h 5101"/>
                <a:gd name="T88" fmla="*/ 438 w 4993"/>
                <a:gd name="T89" fmla="*/ 3563 h 5101"/>
                <a:gd name="T90" fmla="*/ 137 w 4993"/>
                <a:gd name="T91" fmla="*/ 3325 h 5101"/>
                <a:gd name="T92" fmla="*/ 6 w 4993"/>
                <a:gd name="T93" fmla="*/ 3062 h 5101"/>
                <a:gd name="T94" fmla="*/ 173 w 4993"/>
                <a:gd name="T95" fmla="*/ 2712 h 5101"/>
                <a:gd name="T96" fmla="*/ 141 w 4993"/>
                <a:gd name="T97" fmla="*/ 2374 h 5101"/>
                <a:gd name="T98" fmla="*/ 4 w 4993"/>
                <a:gd name="T99" fmla="*/ 2028 h 5101"/>
                <a:gd name="T100" fmla="*/ 171 w 4993"/>
                <a:gd name="T101" fmla="*/ 1784 h 5101"/>
                <a:gd name="T102" fmla="*/ 442 w 4993"/>
                <a:gd name="T103" fmla="*/ 1525 h 5101"/>
                <a:gd name="T104" fmla="*/ 425 w 4993"/>
                <a:gd name="T105" fmla="*/ 1126 h 5101"/>
                <a:gd name="T106" fmla="*/ 623 w 4993"/>
                <a:gd name="T107" fmla="*/ 877 h 5101"/>
                <a:gd name="T108" fmla="*/ 1030 w 4993"/>
                <a:gd name="T109" fmla="*/ 785 h 5101"/>
                <a:gd name="T110" fmla="*/ 1221 w 4993"/>
                <a:gd name="T111" fmla="*/ 418 h 5101"/>
                <a:gd name="T112" fmla="*/ 1478 w 4993"/>
                <a:gd name="T113" fmla="*/ 231 h 5101"/>
                <a:gd name="T114" fmla="*/ 1868 w 4993"/>
                <a:gd name="T115" fmla="*/ 326 h 5101"/>
                <a:gd name="T116" fmla="*/ 2144 w 4993"/>
                <a:gd name="T117" fmla="*/ 214 h 5101"/>
                <a:gd name="T118" fmla="*/ 2477 w 4993"/>
                <a:gd name="T119" fmla="*/ 0 h 5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993" h="5101">
                  <a:moveTo>
                    <a:pt x="2494" y="886"/>
                  </a:moveTo>
                  <a:lnTo>
                    <a:pt x="2357" y="892"/>
                  </a:lnTo>
                  <a:lnTo>
                    <a:pt x="2224" y="909"/>
                  </a:lnTo>
                  <a:lnTo>
                    <a:pt x="2095" y="936"/>
                  </a:lnTo>
                  <a:lnTo>
                    <a:pt x="1969" y="972"/>
                  </a:lnTo>
                  <a:lnTo>
                    <a:pt x="1847" y="1018"/>
                  </a:lnTo>
                  <a:lnTo>
                    <a:pt x="1731" y="1073"/>
                  </a:lnTo>
                  <a:lnTo>
                    <a:pt x="1618" y="1136"/>
                  </a:lnTo>
                  <a:lnTo>
                    <a:pt x="1512" y="1208"/>
                  </a:lnTo>
                  <a:lnTo>
                    <a:pt x="1413" y="1288"/>
                  </a:lnTo>
                  <a:lnTo>
                    <a:pt x="1320" y="1374"/>
                  </a:lnTo>
                  <a:lnTo>
                    <a:pt x="1232" y="1467"/>
                  </a:lnTo>
                  <a:lnTo>
                    <a:pt x="1152" y="1568"/>
                  </a:lnTo>
                  <a:lnTo>
                    <a:pt x="1082" y="1675"/>
                  </a:lnTo>
                  <a:lnTo>
                    <a:pt x="1017" y="1786"/>
                  </a:lnTo>
                  <a:lnTo>
                    <a:pt x="962" y="1904"/>
                  </a:lnTo>
                  <a:lnTo>
                    <a:pt x="916" y="2026"/>
                  </a:lnTo>
                  <a:lnTo>
                    <a:pt x="880" y="2152"/>
                  </a:lnTo>
                  <a:lnTo>
                    <a:pt x="853" y="2281"/>
                  </a:lnTo>
                  <a:lnTo>
                    <a:pt x="836" y="2414"/>
                  </a:lnTo>
                  <a:lnTo>
                    <a:pt x="832" y="2552"/>
                  </a:lnTo>
                  <a:lnTo>
                    <a:pt x="836" y="2687"/>
                  </a:lnTo>
                  <a:lnTo>
                    <a:pt x="853" y="2820"/>
                  </a:lnTo>
                  <a:lnTo>
                    <a:pt x="880" y="2950"/>
                  </a:lnTo>
                  <a:lnTo>
                    <a:pt x="916" y="3076"/>
                  </a:lnTo>
                  <a:lnTo>
                    <a:pt x="962" y="3198"/>
                  </a:lnTo>
                  <a:lnTo>
                    <a:pt x="1017" y="3316"/>
                  </a:lnTo>
                  <a:lnTo>
                    <a:pt x="1082" y="3426"/>
                  </a:lnTo>
                  <a:lnTo>
                    <a:pt x="1152" y="3533"/>
                  </a:lnTo>
                  <a:lnTo>
                    <a:pt x="1232" y="3634"/>
                  </a:lnTo>
                  <a:lnTo>
                    <a:pt x="1320" y="3727"/>
                  </a:lnTo>
                  <a:lnTo>
                    <a:pt x="1413" y="3813"/>
                  </a:lnTo>
                  <a:lnTo>
                    <a:pt x="1512" y="3893"/>
                  </a:lnTo>
                  <a:lnTo>
                    <a:pt x="1618" y="3965"/>
                  </a:lnTo>
                  <a:lnTo>
                    <a:pt x="1731" y="4028"/>
                  </a:lnTo>
                  <a:lnTo>
                    <a:pt x="1847" y="4084"/>
                  </a:lnTo>
                  <a:lnTo>
                    <a:pt x="1969" y="4129"/>
                  </a:lnTo>
                  <a:lnTo>
                    <a:pt x="2095" y="4166"/>
                  </a:lnTo>
                  <a:lnTo>
                    <a:pt x="2224" y="4192"/>
                  </a:lnTo>
                  <a:lnTo>
                    <a:pt x="2357" y="4209"/>
                  </a:lnTo>
                  <a:lnTo>
                    <a:pt x="2494" y="4215"/>
                  </a:lnTo>
                  <a:lnTo>
                    <a:pt x="2630" y="4209"/>
                  </a:lnTo>
                  <a:lnTo>
                    <a:pt x="2763" y="4192"/>
                  </a:lnTo>
                  <a:lnTo>
                    <a:pt x="2892" y="4166"/>
                  </a:lnTo>
                  <a:lnTo>
                    <a:pt x="3020" y="4129"/>
                  </a:lnTo>
                  <a:lnTo>
                    <a:pt x="3140" y="4084"/>
                  </a:lnTo>
                  <a:lnTo>
                    <a:pt x="3258" y="4028"/>
                  </a:lnTo>
                  <a:lnTo>
                    <a:pt x="3370" y="3965"/>
                  </a:lnTo>
                  <a:lnTo>
                    <a:pt x="3475" y="3893"/>
                  </a:lnTo>
                  <a:lnTo>
                    <a:pt x="3576" y="3813"/>
                  </a:lnTo>
                  <a:lnTo>
                    <a:pt x="3669" y="3727"/>
                  </a:lnTo>
                  <a:lnTo>
                    <a:pt x="3757" y="3634"/>
                  </a:lnTo>
                  <a:lnTo>
                    <a:pt x="3835" y="3533"/>
                  </a:lnTo>
                  <a:lnTo>
                    <a:pt x="3907" y="3426"/>
                  </a:lnTo>
                  <a:lnTo>
                    <a:pt x="3970" y="3316"/>
                  </a:lnTo>
                  <a:lnTo>
                    <a:pt x="4025" y="3198"/>
                  </a:lnTo>
                  <a:lnTo>
                    <a:pt x="4073" y="3076"/>
                  </a:lnTo>
                  <a:lnTo>
                    <a:pt x="4109" y="2950"/>
                  </a:lnTo>
                  <a:lnTo>
                    <a:pt x="4136" y="2820"/>
                  </a:lnTo>
                  <a:lnTo>
                    <a:pt x="4151" y="2687"/>
                  </a:lnTo>
                  <a:lnTo>
                    <a:pt x="4157" y="2552"/>
                  </a:lnTo>
                  <a:lnTo>
                    <a:pt x="4151" y="2414"/>
                  </a:lnTo>
                  <a:lnTo>
                    <a:pt x="4136" y="2281"/>
                  </a:lnTo>
                  <a:lnTo>
                    <a:pt x="4109" y="2152"/>
                  </a:lnTo>
                  <a:lnTo>
                    <a:pt x="4073" y="2026"/>
                  </a:lnTo>
                  <a:lnTo>
                    <a:pt x="4025" y="1904"/>
                  </a:lnTo>
                  <a:lnTo>
                    <a:pt x="3970" y="1786"/>
                  </a:lnTo>
                  <a:lnTo>
                    <a:pt x="3907" y="1675"/>
                  </a:lnTo>
                  <a:lnTo>
                    <a:pt x="3835" y="1568"/>
                  </a:lnTo>
                  <a:lnTo>
                    <a:pt x="3757" y="1467"/>
                  </a:lnTo>
                  <a:lnTo>
                    <a:pt x="3669" y="1374"/>
                  </a:lnTo>
                  <a:lnTo>
                    <a:pt x="3576" y="1288"/>
                  </a:lnTo>
                  <a:lnTo>
                    <a:pt x="3475" y="1208"/>
                  </a:lnTo>
                  <a:lnTo>
                    <a:pt x="3370" y="1136"/>
                  </a:lnTo>
                  <a:lnTo>
                    <a:pt x="3258" y="1073"/>
                  </a:lnTo>
                  <a:lnTo>
                    <a:pt x="3140" y="1018"/>
                  </a:lnTo>
                  <a:lnTo>
                    <a:pt x="3020" y="972"/>
                  </a:lnTo>
                  <a:lnTo>
                    <a:pt x="2892" y="936"/>
                  </a:lnTo>
                  <a:lnTo>
                    <a:pt x="2763" y="909"/>
                  </a:lnTo>
                  <a:lnTo>
                    <a:pt x="2630" y="892"/>
                  </a:lnTo>
                  <a:lnTo>
                    <a:pt x="2494" y="886"/>
                  </a:lnTo>
                  <a:close/>
                  <a:moveTo>
                    <a:pt x="2477" y="0"/>
                  </a:moveTo>
                  <a:lnTo>
                    <a:pt x="2532" y="4"/>
                  </a:lnTo>
                  <a:lnTo>
                    <a:pt x="2586" y="17"/>
                  </a:lnTo>
                  <a:lnTo>
                    <a:pt x="2637" y="40"/>
                  </a:lnTo>
                  <a:lnTo>
                    <a:pt x="2685" y="71"/>
                  </a:lnTo>
                  <a:lnTo>
                    <a:pt x="2727" y="111"/>
                  </a:lnTo>
                  <a:lnTo>
                    <a:pt x="2814" y="208"/>
                  </a:lnTo>
                  <a:lnTo>
                    <a:pt x="2852" y="244"/>
                  </a:lnTo>
                  <a:lnTo>
                    <a:pt x="2894" y="275"/>
                  </a:lnTo>
                  <a:lnTo>
                    <a:pt x="2942" y="296"/>
                  </a:lnTo>
                  <a:lnTo>
                    <a:pt x="2989" y="311"/>
                  </a:lnTo>
                  <a:lnTo>
                    <a:pt x="3041" y="318"/>
                  </a:lnTo>
                  <a:lnTo>
                    <a:pt x="3092" y="317"/>
                  </a:lnTo>
                  <a:lnTo>
                    <a:pt x="3142" y="309"/>
                  </a:lnTo>
                  <a:lnTo>
                    <a:pt x="3193" y="292"/>
                  </a:lnTo>
                  <a:lnTo>
                    <a:pt x="3313" y="240"/>
                  </a:lnTo>
                  <a:lnTo>
                    <a:pt x="3368" y="221"/>
                  </a:lnTo>
                  <a:lnTo>
                    <a:pt x="3425" y="214"/>
                  </a:lnTo>
                  <a:lnTo>
                    <a:pt x="3481" y="216"/>
                  </a:lnTo>
                  <a:lnTo>
                    <a:pt x="3534" y="225"/>
                  </a:lnTo>
                  <a:lnTo>
                    <a:pt x="3585" y="244"/>
                  </a:lnTo>
                  <a:lnTo>
                    <a:pt x="3633" y="273"/>
                  </a:lnTo>
                  <a:lnTo>
                    <a:pt x="3677" y="307"/>
                  </a:lnTo>
                  <a:lnTo>
                    <a:pt x="3713" y="349"/>
                  </a:lnTo>
                  <a:lnTo>
                    <a:pt x="3742" y="398"/>
                  </a:lnTo>
                  <a:lnTo>
                    <a:pt x="3763" y="454"/>
                  </a:lnTo>
                  <a:lnTo>
                    <a:pt x="3799" y="578"/>
                  </a:lnTo>
                  <a:lnTo>
                    <a:pt x="3820" y="635"/>
                  </a:lnTo>
                  <a:lnTo>
                    <a:pt x="3852" y="684"/>
                  </a:lnTo>
                  <a:lnTo>
                    <a:pt x="3890" y="728"/>
                  </a:lnTo>
                  <a:lnTo>
                    <a:pt x="3936" y="764"/>
                  </a:lnTo>
                  <a:lnTo>
                    <a:pt x="3987" y="791"/>
                  </a:lnTo>
                  <a:lnTo>
                    <a:pt x="4044" y="810"/>
                  </a:lnTo>
                  <a:lnTo>
                    <a:pt x="4103" y="818"/>
                  </a:lnTo>
                  <a:lnTo>
                    <a:pt x="4233" y="823"/>
                  </a:lnTo>
                  <a:lnTo>
                    <a:pt x="4292" y="829"/>
                  </a:lnTo>
                  <a:lnTo>
                    <a:pt x="4345" y="846"/>
                  </a:lnTo>
                  <a:lnTo>
                    <a:pt x="4395" y="873"/>
                  </a:lnTo>
                  <a:lnTo>
                    <a:pt x="4440" y="905"/>
                  </a:lnTo>
                  <a:lnTo>
                    <a:pt x="4478" y="945"/>
                  </a:lnTo>
                  <a:lnTo>
                    <a:pt x="4509" y="991"/>
                  </a:lnTo>
                  <a:lnTo>
                    <a:pt x="4532" y="1041"/>
                  </a:lnTo>
                  <a:lnTo>
                    <a:pt x="4547" y="1094"/>
                  </a:lnTo>
                  <a:lnTo>
                    <a:pt x="4551" y="1151"/>
                  </a:lnTo>
                  <a:lnTo>
                    <a:pt x="4547" y="1210"/>
                  </a:lnTo>
                  <a:lnTo>
                    <a:pt x="4526" y="1338"/>
                  </a:lnTo>
                  <a:lnTo>
                    <a:pt x="4520" y="1391"/>
                  </a:lnTo>
                  <a:lnTo>
                    <a:pt x="4524" y="1443"/>
                  </a:lnTo>
                  <a:lnTo>
                    <a:pt x="4536" y="1492"/>
                  </a:lnTo>
                  <a:lnTo>
                    <a:pt x="4555" y="1540"/>
                  </a:lnTo>
                  <a:lnTo>
                    <a:pt x="4579" y="1584"/>
                  </a:lnTo>
                  <a:lnTo>
                    <a:pt x="4612" y="1624"/>
                  </a:lnTo>
                  <a:lnTo>
                    <a:pt x="4652" y="1658"/>
                  </a:lnTo>
                  <a:lnTo>
                    <a:pt x="4696" y="1687"/>
                  </a:lnTo>
                  <a:lnTo>
                    <a:pt x="4810" y="1748"/>
                  </a:lnTo>
                  <a:lnTo>
                    <a:pt x="4855" y="1778"/>
                  </a:lnTo>
                  <a:lnTo>
                    <a:pt x="4894" y="1812"/>
                  </a:lnTo>
                  <a:lnTo>
                    <a:pt x="4926" y="1850"/>
                  </a:lnTo>
                  <a:lnTo>
                    <a:pt x="4951" y="1894"/>
                  </a:lnTo>
                  <a:lnTo>
                    <a:pt x="4970" y="1942"/>
                  </a:lnTo>
                  <a:lnTo>
                    <a:pt x="4981" y="1990"/>
                  </a:lnTo>
                  <a:lnTo>
                    <a:pt x="4985" y="2039"/>
                  </a:lnTo>
                  <a:lnTo>
                    <a:pt x="4981" y="2091"/>
                  </a:lnTo>
                  <a:lnTo>
                    <a:pt x="4970" y="2140"/>
                  </a:lnTo>
                  <a:lnTo>
                    <a:pt x="4951" y="2188"/>
                  </a:lnTo>
                  <a:lnTo>
                    <a:pt x="4924" y="2233"/>
                  </a:lnTo>
                  <a:lnTo>
                    <a:pt x="4848" y="2340"/>
                  </a:lnTo>
                  <a:lnTo>
                    <a:pt x="4817" y="2392"/>
                  </a:lnTo>
                  <a:lnTo>
                    <a:pt x="4798" y="2447"/>
                  </a:lnTo>
                  <a:lnTo>
                    <a:pt x="4789" y="2504"/>
                  </a:lnTo>
                  <a:lnTo>
                    <a:pt x="4789" y="2563"/>
                  </a:lnTo>
                  <a:lnTo>
                    <a:pt x="4800" y="2620"/>
                  </a:lnTo>
                  <a:lnTo>
                    <a:pt x="4821" y="2676"/>
                  </a:lnTo>
                  <a:lnTo>
                    <a:pt x="4852" y="2727"/>
                  </a:lnTo>
                  <a:lnTo>
                    <a:pt x="4928" y="2832"/>
                  </a:lnTo>
                  <a:lnTo>
                    <a:pt x="4956" y="2877"/>
                  </a:lnTo>
                  <a:lnTo>
                    <a:pt x="4975" y="2925"/>
                  </a:lnTo>
                  <a:lnTo>
                    <a:pt x="4989" y="2975"/>
                  </a:lnTo>
                  <a:lnTo>
                    <a:pt x="4993" y="3026"/>
                  </a:lnTo>
                  <a:lnTo>
                    <a:pt x="4989" y="3076"/>
                  </a:lnTo>
                  <a:lnTo>
                    <a:pt x="4977" y="3123"/>
                  </a:lnTo>
                  <a:lnTo>
                    <a:pt x="4960" y="3171"/>
                  </a:lnTo>
                  <a:lnTo>
                    <a:pt x="4935" y="3215"/>
                  </a:lnTo>
                  <a:lnTo>
                    <a:pt x="4903" y="3255"/>
                  </a:lnTo>
                  <a:lnTo>
                    <a:pt x="4865" y="3289"/>
                  </a:lnTo>
                  <a:lnTo>
                    <a:pt x="4821" y="3320"/>
                  </a:lnTo>
                  <a:lnTo>
                    <a:pt x="4707" y="3382"/>
                  </a:lnTo>
                  <a:lnTo>
                    <a:pt x="4663" y="3411"/>
                  </a:lnTo>
                  <a:lnTo>
                    <a:pt x="4625" y="3447"/>
                  </a:lnTo>
                  <a:lnTo>
                    <a:pt x="4593" y="3487"/>
                  </a:lnTo>
                  <a:lnTo>
                    <a:pt x="4568" y="3531"/>
                  </a:lnTo>
                  <a:lnTo>
                    <a:pt x="4551" y="3579"/>
                  </a:lnTo>
                  <a:lnTo>
                    <a:pt x="4539" y="3628"/>
                  </a:lnTo>
                  <a:lnTo>
                    <a:pt x="4536" y="3682"/>
                  </a:lnTo>
                  <a:lnTo>
                    <a:pt x="4541" y="3733"/>
                  </a:lnTo>
                  <a:lnTo>
                    <a:pt x="4564" y="3861"/>
                  </a:lnTo>
                  <a:lnTo>
                    <a:pt x="4570" y="3920"/>
                  </a:lnTo>
                  <a:lnTo>
                    <a:pt x="4566" y="3977"/>
                  </a:lnTo>
                  <a:lnTo>
                    <a:pt x="4553" y="4030"/>
                  </a:lnTo>
                  <a:lnTo>
                    <a:pt x="4530" y="4080"/>
                  </a:lnTo>
                  <a:lnTo>
                    <a:pt x="4499" y="4126"/>
                  </a:lnTo>
                  <a:lnTo>
                    <a:pt x="4463" y="4167"/>
                  </a:lnTo>
                  <a:lnTo>
                    <a:pt x="4419" y="4200"/>
                  </a:lnTo>
                  <a:lnTo>
                    <a:pt x="4370" y="4227"/>
                  </a:lnTo>
                  <a:lnTo>
                    <a:pt x="4317" y="4244"/>
                  </a:lnTo>
                  <a:lnTo>
                    <a:pt x="4258" y="4253"/>
                  </a:lnTo>
                  <a:lnTo>
                    <a:pt x="4128" y="4261"/>
                  </a:lnTo>
                  <a:lnTo>
                    <a:pt x="4067" y="4270"/>
                  </a:lnTo>
                  <a:lnTo>
                    <a:pt x="4012" y="4289"/>
                  </a:lnTo>
                  <a:lnTo>
                    <a:pt x="3961" y="4318"/>
                  </a:lnTo>
                  <a:lnTo>
                    <a:pt x="3917" y="4354"/>
                  </a:lnTo>
                  <a:lnTo>
                    <a:pt x="3879" y="4398"/>
                  </a:lnTo>
                  <a:lnTo>
                    <a:pt x="3848" y="4449"/>
                  </a:lnTo>
                  <a:lnTo>
                    <a:pt x="3827" y="4505"/>
                  </a:lnTo>
                  <a:lnTo>
                    <a:pt x="3793" y="4630"/>
                  </a:lnTo>
                  <a:lnTo>
                    <a:pt x="3772" y="4686"/>
                  </a:lnTo>
                  <a:lnTo>
                    <a:pt x="3743" y="4735"/>
                  </a:lnTo>
                  <a:lnTo>
                    <a:pt x="3707" y="4777"/>
                  </a:lnTo>
                  <a:lnTo>
                    <a:pt x="3665" y="4813"/>
                  </a:lnTo>
                  <a:lnTo>
                    <a:pt x="3618" y="4840"/>
                  </a:lnTo>
                  <a:lnTo>
                    <a:pt x="3568" y="4861"/>
                  </a:lnTo>
                  <a:lnTo>
                    <a:pt x="3513" y="4872"/>
                  </a:lnTo>
                  <a:lnTo>
                    <a:pt x="3458" y="4874"/>
                  </a:lnTo>
                  <a:lnTo>
                    <a:pt x="3403" y="4867"/>
                  </a:lnTo>
                  <a:lnTo>
                    <a:pt x="3346" y="4850"/>
                  </a:lnTo>
                  <a:lnTo>
                    <a:pt x="3226" y="4800"/>
                  </a:lnTo>
                  <a:lnTo>
                    <a:pt x="3176" y="4783"/>
                  </a:lnTo>
                  <a:lnTo>
                    <a:pt x="3125" y="4775"/>
                  </a:lnTo>
                  <a:lnTo>
                    <a:pt x="3073" y="4775"/>
                  </a:lnTo>
                  <a:lnTo>
                    <a:pt x="3022" y="4785"/>
                  </a:lnTo>
                  <a:lnTo>
                    <a:pt x="2974" y="4800"/>
                  </a:lnTo>
                  <a:lnTo>
                    <a:pt x="2929" y="4823"/>
                  </a:lnTo>
                  <a:lnTo>
                    <a:pt x="2887" y="4852"/>
                  </a:lnTo>
                  <a:lnTo>
                    <a:pt x="2849" y="4890"/>
                  </a:lnTo>
                  <a:lnTo>
                    <a:pt x="2763" y="4989"/>
                  </a:lnTo>
                  <a:lnTo>
                    <a:pt x="2721" y="5029"/>
                  </a:lnTo>
                  <a:lnTo>
                    <a:pt x="2673" y="5061"/>
                  </a:lnTo>
                  <a:lnTo>
                    <a:pt x="2622" y="5084"/>
                  </a:lnTo>
                  <a:lnTo>
                    <a:pt x="2569" y="5097"/>
                  </a:lnTo>
                  <a:lnTo>
                    <a:pt x="2515" y="5101"/>
                  </a:lnTo>
                  <a:lnTo>
                    <a:pt x="2460" y="5097"/>
                  </a:lnTo>
                  <a:lnTo>
                    <a:pt x="2407" y="5084"/>
                  </a:lnTo>
                  <a:lnTo>
                    <a:pt x="2355" y="5063"/>
                  </a:lnTo>
                  <a:lnTo>
                    <a:pt x="2308" y="5033"/>
                  </a:lnTo>
                  <a:lnTo>
                    <a:pt x="2266" y="4993"/>
                  </a:lnTo>
                  <a:lnTo>
                    <a:pt x="2178" y="4893"/>
                  </a:lnTo>
                  <a:lnTo>
                    <a:pt x="2140" y="4857"/>
                  </a:lnTo>
                  <a:lnTo>
                    <a:pt x="2096" y="4829"/>
                  </a:lnTo>
                  <a:lnTo>
                    <a:pt x="2051" y="4806"/>
                  </a:lnTo>
                  <a:lnTo>
                    <a:pt x="2001" y="4792"/>
                  </a:lnTo>
                  <a:lnTo>
                    <a:pt x="1952" y="4785"/>
                  </a:lnTo>
                  <a:lnTo>
                    <a:pt x="1900" y="4785"/>
                  </a:lnTo>
                  <a:lnTo>
                    <a:pt x="1849" y="4794"/>
                  </a:lnTo>
                  <a:lnTo>
                    <a:pt x="1799" y="4812"/>
                  </a:lnTo>
                  <a:lnTo>
                    <a:pt x="1679" y="4863"/>
                  </a:lnTo>
                  <a:lnTo>
                    <a:pt x="1624" y="4880"/>
                  </a:lnTo>
                  <a:lnTo>
                    <a:pt x="1567" y="4890"/>
                  </a:lnTo>
                  <a:lnTo>
                    <a:pt x="1512" y="4888"/>
                  </a:lnTo>
                  <a:lnTo>
                    <a:pt x="1457" y="4876"/>
                  </a:lnTo>
                  <a:lnTo>
                    <a:pt x="1405" y="4857"/>
                  </a:lnTo>
                  <a:lnTo>
                    <a:pt x="1358" y="4831"/>
                  </a:lnTo>
                  <a:lnTo>
                    <a:pt x="1316" y="4796"/>
                  </a:lnTo>
                  <a:lnTo>
                    <a:pt x="1280" y="4752"/>
                  </a:lnTo>
                  <a:lnTo>
                    <a:pt x="1249" y="4705"/>
                  </a:lnTo>
                  <a:lnTo>
                    <a:pt x="1228" y="4650"/>
                  </a:lnTo>
                  <a:lnTo>
                    <a:pt x="1194" y="4524"/>
                  </a:lnTo>
                  <a:lnTo>
                    <a:pt x="1171" y="4469"/>
                  </a:lnTo>
                  <a:lnTo>
                    <a:pt x="1141" y="4419"/>
                  </a:lnTo>
                  <a:lnTo>
                    <a:pt x="1101" y="4375"/>
                  </a:lnTo>
                  <a:lnTo>
                    <a:pt x="1055" y="4339"/>
                  </a:lnTo>
                  <a:lnTo>
                    <a:pt x="1003" y="4312"/>
                  </a:lnTo>
                  <a:lnTo>
                    <a:pt x="948" y="4293"/>
                  </a:lnTo>
                  <a:lnTo>
                    <a:pt x="889" y="4286"/>
                  </a:lnTo>
                  <a:lnTo>
                    <a:pt x="758" y="4280"/>
                  </a:lnTo>
                  <a:lnTo>
                    <a:pt x="701" y="4272"/>
                  </a:lnTo>
                  <a:lnTo>
                    <a:pt x="645" y="4255"/>
                  </a:lnTo>
                  <a:lnTo>
                    <a:pt x="596" y="4230"/>
                  </a:lnTo>
                  <a:lnTo>
                    <a:pt x="552" y="4198"/>
                  </a:lnTo>
                  <a:lnTo>
                    <a:pt x="514" y="4158"/>
                  </a:lnTo>
                  <a:lnTo>
                    <a:pt x="484" y="4112"/>
                  </a:lnTo>
                  <a:lnTo>
                    <a:pt x="461" y="4063"/>
                  </a:lnTo>
                  <a:lnTo>
                    <a:pt x="446" y="4009"/>
                  </a:lnTo>
                  <a:lnTo>
                    <a:pt x="440" y="3952"/>
                  </a:lnTo>
                  <a:lnTo>
                    <a:pt x="446" y="3893"/>
                  </a:lnTo>
                  <a:lnTo>
                    <a:pt x="467" y="3764"/>
                  </a:lnTo>
                  <a:lnTo>
                    <a:pt x="472" y="3712"/>
                  </a:lnTo>
                  <a:lnTo>
                    <a:pt x="468" y="3661"/>
                  </a:lnTo>
                  <a:lnTo>
                    <a:pt x="457" y="3609"/>
                  </a:lnTo>
                  <a:lnTo>
                    <a:pt x="438" y="3563"/>
                  </a:lnTo>
                  <a:lnTo>
                    <a:pt x="411" y="3520"/>
                  </a:lnTo>
                  <a:lnTo>
                    <a:pt x="379" y="3480"/>
                  </a:lnTo>
                  <a:lnTo>
                    <a:pt x="341" y="3445"/>
                  </a:lnTo>
                  <a:lnTo>
                    <a:pt x="297" y="3417"/>
                  </a:lnTo>
                  <a:lnTo>
                    <a:pt x="181" y="3354"/>
                  </a:lnTo>
                  <a:lnTo>
                    <a:pt x="137" y="3325"/>
                  </a:lnTo>
                  <a:lnTo>
                    <a:pt x="99" y="3291"/>
                  </a:lnTo>
                  <a:lnTo>
                    <a:pt x="67" y="3251"/>
                  </a:lnTo>
                  <a:lnTo>
                    <a:pt x="40" y="3207"/>
                  </a:lnTo>
                  <a:lnTo>
                    <a:pt x="23" y="3161"/>
                  </a:lnTo>
                  <a:lnTo>
                    <a:pt x="11" y="3114"/>
                  </a:lnTo>
                  <a:lnTo>
                    <a:pt x="6" y="3062"/>
                  </a:lnTo>
                  <a:lnTo>
                    <a:pt x="10" y="3013"/>
                  </a:lnTo>
                  <a:lnTo>
                    <a:pt x="21" y="2963"/>
                  </a:lnTo>
                  <a:lnTo>
                    <a:pt x="40" y="2916"/>
                  </a:lnTo>
                  <a:lnTo>
                    <a:pt x="67" y="2870"/>
                  </a:lnTo>
                  <a:lnTo>
                    <a:pt x="143" y="2763"/>
                  </a:lnTo>
                  <a:lnTo>
                    <a:pt x="173" y="2712"/>
                  </a:lnTo>
                  <a:lnTo>
                    <a:pt x="194" y="2656"/>
                  </a:lnTo>
                  <a:lnTo>
                    <a:pt x="204" y="2597"/>
                  </a:lnTo>
                  <a:lnTo>
                    <a:pt x="204" y="2540"/>
                  </a:lnTo>
                  <a:lnTo>
                    <a:pt x="192" y="2483"/>
                  </a:lnTo>
                  <a:lnTo>
                    <a:pt x="171" y="2428"/>
                  </a:lnTo>
                  <a:lnTo>
                    <a:pt x="141" y="2374"/>
                  </a:lnTo>
                  <a:lnTo>
                    <a:pt x="63" y="2270"/>
                  </a:lnTo>
                  <a:lnTo>
                    <a:pt x="36" y="2226"/>
                  </a:lnTo>
                  <a:lnTo>
                    <a:pt x="15" y="2176"/>
                  </a:lnTo>
                  <a:lnTo>
                    <a:pt x="4" y="2127"/>
                  </a:lnTo>
                  <a:lnTo>
                    <a:pt x="0" y="2077"/>
                  </a:lnTo>
                  <a:lnTo>
                    <a:pt x="4" y="2028"/>
                  </a:lnTo>
                  <a:lnTo>
                    <a:pt x="13" y="1980"/>
                  </a:lnTo>
                  <a:lnTo>
                    <a:pt x="32" y="1932"/>
                  </a:lnTo>
                  <a:lnTo>
                    <a:pt x="57" y="1889"/>
                  </a:lnTo>
                  <a:lnTo>
                    <a:pt x="88" y="1849"/>
                  </a:lnTo>
                  <a:lnTo>
                    <a:pt x="126" y="1814"/>
                  </a:lnTo>
                  <a:lnTo>
                    <a:pt x="171" y="1784"/>
                  </a:lnTo>
                  <a:lnTo>
                    <a:pt x="286" y="1721"/>
                  </a:lnTo>
                  <a:lnTo>
                    <a:pt x="329" y="1690"/>
                  </a:lnTo>
                  <a:lnTo>
                    <a:pt x="367" y="1656"/>
                  </a:lnTo>
                  <a:lnTo>
                    <a:pt x="398" y="1616"/>
                  </a:lnTo>
                  <a:lnTo>
                    <a:pt x="423" y="1572"/>
                  </a:lnTo>
                  <a:lnTo>
                    <a:pt x="442" y="1525"/>
                  </a:lnTo>
                  <a:lnTo>
                    <a:pt x="453" y="1473"/>
                  </a:lnTo>
                  <a:lnTo>
                    <a:pt x="455" y="1422"/>
                  </a:lnTo>
                  <a:lnTo>
                    <a:pt x="449" y="1368"/>
                  </a:lnTo>
                  <a:lnTo>
                    <a:pt x="427" y="1241"/>
                  </a:lnTo>
                  <a:lnTo>
                    <a:pt x="421" y="1184"/>
                  </a:lnTo>
                  <a:lnTo>
                    <a:pt x="425" y="1126"/>
                  </a:lnTo>
                  <a:lnTo>
                    <a:pt x="440" y="1073"/>
                  </a:lnTo>
                  <a:lnTo>
                    <a:pt x="461" y="1022"/>
                  </a:lnTo>
                  <a:lnTo>
                    <a:pt x="491" y="976"/>
                  </a:lnTo>
                  <a:lnTo>
                    <a:pt x="529" y="936"/>
                  </a:lnTo>
                  <a:lnTo>
                    <a:pt x="573" y="902"/>
                  </a:lnTo>
                  <a:lnTo>
                    <a:pt x="623" y="877"/>
                  </a:lnTo>
                  <a:lnTo>
                    <a:pt x="676" y="858"/>
                  </a:lnTo>
                  <a:lnTo>
                    <a:pt x="733" y="850"/>
                  </a:lnTo>
                  <a:lnTo>
                    <a:pt x="864" y="842"/>
                  </a:lnTo>
                  <a:lnTo>
                    <a:pt x="923" y="833"/>
                  </a:lnTo>
                  <a:lnTo>
                    <a:pt x="979" y="814"/>
                  </a:lnTo>
                  <a:lnTo>
                    <a:pt x="1030" y="785"/>
                  </a:lnTo>
                  <a:lnTo>
                    <a:pt x="1076" y="749"/>
                  </a:lnTo>
                  <a:lnTo>
                    <a:pt x="1114" y="703"/>
                  </a:lnTo>
                  <a:lnTo>
                    <a:pt x="1144" y="654"/>
                  </a:lnTo>
                  <a:lnTo>
                    <a:pt x="1165" y="597"/>
                  </a:lnTo>
                  <a:lnTo>
                    <a:pt x="1200" y="473"/>
                  </a:lnTo>
                  <a:lnTo>
                    <a:pt x="1221" y="418"/>
                  </a:lnTo>
                  <a:lnTo>
                    <a:pt x="1249" y="368"/>
                  </a:lnTo>
                  <a:lnTo>
                    <a:pt x="1283" y="326"/>
                  </a:lnTo>
                  <a:lnTo>
                    <a:pt x="1327" y="290"/>
                  </a:lnTo>
                  <a:lnTo>
                    <a:pt x="1373" y="261"/>
                  </a:lnTo>
                  <a:lnTo>
                    <a:pt x="1424" y="242"/>
                  </a:lnTo>
                  <a:lnTo>
                    <a:pt x="1478" y="231"/>
                  </a:lnTo>
                  <a:lnTo>
                    <a:pt x="1535" y="229"/>
                  </a:lnTo>
                  <a:lnTo>
                    <a:pt x="1590" y="235"/>
                  </a:lnTo>
                  <a:lnTo>
                    <a:pt x="1645" y="254"/>
                  </a:lnTo>
                  <a:lnTo>
                    <a:pt x="1767" y="303"/>
                  </a:lnTo>
                  <a:lnTo>
                    <a:pt x="1817" y="318"/>
                  </a:lnTo>
                  <a:lnTo>
                    <a:pt x="1868" y="326"/>
                  </a:lnTo>
                  <a:lnTo>
                    <a:pt x="1919" y="326"/>
                  </a:lnTo>
                  <a:lnTo>
                    <a:pt x="1969" y="318"/>
                  </a:lnTo>
                  <a:lnTo>
                    <a:pt x="2018" y="303"/>
                  </a:lnTo>
                  <a:lnTo>
                    <a:pt x="2064" y="280"/>
                  </a:lnTo>
                  <a:lnTo>
                    <a:pt x="2106" y="250"/>
                  </a:lnTo>
                  <a:lnTo>
                    <a:pt x="2144" y="214"/>
                  </a:lnTo>
                  <a:lnTo>
                    <a:pt x="2230" y="115"/>
                  </a:lnTo>
                  <a:lnTo>
                    <a:pt x="2272" y="75"/>
                  </a:lnTo>
                  <a:lnTo>
                    <a:pt x="2319" y="42"/>
                  </a:lnTo>
                  <a:lnTo>
                    <a:pt x="2369" y="19"/>
                  </a:lnTo>
                  <a:lnTo>
                    <a:pt x="2422" y="6"/>
                  </a:lnTo>
                  <a:lnTo>
                    <a:pt x="247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06" name="Freeform 423">
              <a:extLst>
                <a:ext uri="{FF2B5EF4-FFF2-40B4-BE49-F238E27FC236}">
                  <a16:creationId xmlns:a16="http://schemas.microsoft.com/office/drawing/2014/main" id="{DFEC588A-3807-95E9-3F61-E948FC33E5AF}"/>
                </a:ext>
              </a:extLst>
            </p:cNvPr>
            <p:cNvSpPr>
              <a:spLocks/>
            </p:cNvSpPr>
            <p:nvPr/>
          </p:nvSpPr>
          <p:spPr bwMode="auto">
            <a:xfrm>
              <a:off x="6043" y="3122"/>
              <a:ext cx="811" cy="816"/>
            </a:xfrm>
            <a:custGeom>
              <a:avLst/>
              <a:gdLst>
                <a:gd name="T0" fmla="*/ 1154 w 1622"/>
                <a:gd name="T1" fmla="*/ 0 h 1633"/>
                <a:gd name="T2" fmla="*/ 1599 w 1622"/>
                <a:gd name="T3" fmla="*/ 808 h 1633"/>
                <a:gd name="T4" fmla="*/ 1615 w 1622"/>
                <a:gd name="T5" fmla="*/ 846 h 1633"/>
                <a:gd name="T6" fmla="*/ 1622 w 1622"/>
                <a:gd name="T7" fmla="*/ 888 h 1633"/>
                <a:gd name="T8" fmla="*/ 1620 w 1622"/>
                <a:gd name="T9" fmla="*/ 930 h 1633"/>
                <a:gd name="T10" fmla="*/ 1609 w 1622"/>
                <a:gd name="T11" fmla="*/ 972 h 1633"/>
                <a:gd name="T12" fmla="*/ 1394 w 1622"/>
                <a:gd name="T13" fmla="*/ 1511 h 1633"/>
                <a:gd name="T14" fmla="*/ 1375 w 1622"/>
                <a:gd name="T15" fmla="*/ 1545 h 1633"/>
                <a:gd name="T16" fmla="*/ 1352 w 1622"/>
                <a:gd name="T17" fmla="*/ 1576 h 1633"/>
                <a:gd name="T18" fmla="*/ 1323 w 1622"/>
                <a:gd name="T19" fmla="*/ 1599 h 1633"/>
                <a:gd name="T20" fmla="*/ 1291 w 1622"/>
                <a:gd name="T21" fmla="*/ 1618 h 1633"/>
                <a:gd name="T22" fmla="*/ 1255 w 1622"/>
                <a:gd name="T23" fmla="*/ 1629 h 1633"/>
                <a:gd name="T24" fmla="*/ 1219 w 1622"/>
                <a:gd name="T25" fmla="*/ 1633 h 1633"/>
                <a:gd name="T26" fmla="*/ 1179 w 1622"/>
                <a:gd name="T27" fmla="*/ 1629 h 1633"/>
                <a:gd name="T28" fmla="*/ 607 w 1622"/>
                <a:gd name="T29" fmla="*/ 1522 h 1633"/>
                <a:gd name="T30" fmla="*/ 567 w 1622"/>
                <a:gd name="T31" fmla="*/ 1511 h 1633"/>
                <a:gd name="T32" fmla="*/ 531 w 1622"/>
                <a:gd name="T33" fmla="*/ 1490 h 1633"/>
                <a:gd name="T34" fmla="*/ 499 w 1622"/>
                <a:gd name="T35" fmla="*/ 1461 h 1633"/>
                <a:gd name="T36" fmla="*/ 474 w 1622"/>
                <a:gd name="T37" fmla="*/ 1427 h 1633"/>
                <a:gd name="T38" fmla="*/ 0 w 1622"/>
                <a:gd name="T39" fmla="*/ 564 h 1633"/>
                <a:gd name="T40" fmla="*/ 31 w 1622"/>
                <a:gd name="T41" fmla="*/ 528 h 1633"/>
                <a:gd name="T42" fmla="*/ 128 w 1622"/>
                <a:gd name="T43" fmla="*/ 568 h 1633"/>
                <a:gd name="T44" fmla="*/ 213 w 1622"/>
                <a:gd name="T45" fmla="*/ 598 h 1633"/>
                <a:gd name="T46" fmla="*/ 303 w 1622"/>
                <a:gd name="T47" fmla="*/ 615 h 1633"/>
                <a:gd name="T48" fmla="*/ 394 w 1622"/>
                <a:gd name="T49" fmla="*/ 621 h 1633"/>
                <a:gd name="T50" fmla="*/ 478 w 1622"/>
                <a:gd name="T51" fmla="*/ 615 h 1633"/>
                <a:gd name="T52" fmla="*/ 560 w 1622"/>
                <a:gd name="T53" fmla="*/ 600 h 1633"/>
                <a:gd name="T54" fmla="*/ 640 w 1622"/>
                <a:gd name="T55" fmla="*/ 575 h 1633"/>
                <a:gd name="T56" fmla="*/ 714 w 1622"/>
                <a:gd name="T57" fmla="*/ 543 h 1633"/>
                <a:gd name="T58" fmla="*/ 785 w 1622"/>
                <a:gd name="T59" fmla="*/ 501 h 1633"/>
                <a:gd name="T60" fmla="*/ 849 w 1622"/>
                <a:gd name="T61" fmla="*/ 451 h 1633"/>
                <a:gd name="T62" fmla="*/ 908 w 1622"/>
                <a:gd name="T63" fmla="*/ 394 h 1633"/>
                <a:gd name="T64" fmla="*/ 960 w 1622"/>
                <a:gd name="T65" fmla="*/ 331 h 1633"/>
                <a:gd name="T66" fmla="*/ 1005 w 1622"/>
                <a:gd name="T67" fmla="*/ 261 h 1633"/>
                <a:gd name="T68" fmla="*/ 1042 w 1622"/>
                <a:gd name="T69" fmla="*/ 187 h 1633"/>
                <a:gd name="T70" fmla="*/ 1068 w 1622"/>
                <a:gd name="T71" fmla="*/ 107 h 1633"/>
                <a:gd name="T72" fmla="*/ 1097 w 1622"/>
                <a:gd name="T73" fmla="*/ 4 h 1633"/>
                <a:gd name="T74" fmla="*/ 1154 w 1622"/>
                <a:gd name="T75" fmla="*/ 0 h 16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622" h="1633">
                  <a:moveTo>
                    <a:pt x="1154" y="0"/>
                  </a:moveTo>
                  <a:lnTo>
                    <a:pt x="1599" y="808"/>
                  </a:lnTo>
                  <a:lnTo>
                    <a:pt x="1615" y="846"/>
                  </a:lnTo>
                  <a:lnTo>
                    <a:pt x="1622" y="888"/>
                  </a:lnTo>
                  <a:lnTo>
                    <a:pt x="1620" y="930"/>
                  </a:lnTo>
                  <a:lnTo>
                    <a:pt x="1609" y="972"/>
                  </a:lnTo>
                  <a:lnTo>
                    <a:pt x="1394" y="1511"/>
                  </a:lnTo>
                  <a:lnTo>
                    <a:pt x="1375" y="1545"/>
                  </a:lnTo>
                  <a:lnTo>
                    <a:pt x="1352" y="1576"/>
                  </a:lnTo>
                  <a:lnTo>
                    <a:pt x="1323" y="1599"/>
                  </a:lnTo>
                  <a:lnTo>
                    <a:pt x="1291" y="1618"/>
                  </a:lnTo>
                  <a:lnTo>
                    <a:pt x="1255" y="1629"/>
                  </a:lnTo>
                  <a:lnTo>
                    <a:pt x="1219" y="1633"/>
                  </a:lnTo>
                  <a:lnTo>
                    <a:pt x="1179" y="1629"/>
                  </a:lnTo>
                  <a:lnTo>
                    <a:pt x="607" y="1522"/>
                  </a:lnTo>
                  <a:lnTo>
                    <a:pt x="567" y="1511"/>
                  </a:lnTo>
                  <a:lnTo>
                    <a:pt x="531" y="1490"/>
                  </a:lnTo>
                  <a:lnTo>
                    <a:pt x="499" y="1461"/>
                  </a:lnTo>
                  <a:lnTo>
                    <a:pt x="474" y="1427"/>
                  </a:lnTo>
                  <a:lnTo>
                    <a:pt x="0" y="564"/>
                  </a:lnTo>
                  <a:lnTo>
                    <a:pt x="31" y="528"/>
                  </a:lnTo>
                  <a:lnTo>
                    <a:pt x="128" y="568"/>
                  </a:lnTo>
                  <a:lnTo>
                    <a:pt x="213" y="598"/>
                  </a:lnTo>
                  <a:lnTo>
                    <a:pt x="303" y="615"/>
                  </a:lnTo>
                  <a:lnTo>
                    <a:pt x="394" y="621"/>
                  </a:lnTo>
                  <a:lnTo>
                    <a:pt x="478" y="615"/>
                  </a:lnTo>
                  <a:lnTo>
                    <a:pt x="560" y="600"/>
                  </a:lnTo>
                  <a:lnTo>
                    <a:pt x="640" y="575"/>
                  </a:lnTo>
                  <a:lnTo>
                    <a:pt x="714" y="543"/>
                  </a:lnTo>
                  <a:lnTo>
                    <a:pt x="785" y="501"/>
                  </a:lnTo>
                  <a:lnTo>
                    <a:pt x="849" y="451"/>
                  </a:lnTo>
                  <a:lnTo>
                    <a:pt x="908" y="394"/>
                  </a:lnTo>
                  <a:lnTo>
                    <a:pt x="960" y="331"/>
                  </a:lnTo>
                  <a:lnTo>
                    <a:pt x="1005" y="261"/>
                  </a:lnTo>
                  <a:lnTo>
                    <a:pt x="1042" y="187"/>
                  </a:lnTo>
                  <a:lnTo>
                    <a:pt x="1068" y="107"/>
                  </a:lnTo>
                  <a:lnTo>
                    <a:pt x="1097" y="4"/>
                  </a:lnTo>
                  <a:lnTo>
                    <a:pt x="115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07" name="Freeform 424">
              <a:extLst>
                <a:ext uri="{FF2B5EF4-FFF2-40B4-BE49-F238E27FC236}">
                  <a16:creationId xmlns:a16="http://schemas.microsoft.com/office/drawing/2014/main" id="{7482ECCC-AD04-1F66-8521-104539B084EB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9" y="3135"/>
              <a:ext cx="818" cy="804"/>
            </a:xfrm>
            <a:custGeom>
              <a:avLst/>
              <a:gdLst>
                <a:gd name="T0" fmla="*/ 454 w 1636"/>
                <a:gd name="T1" fmla="*/ 0 h 1608"/>
                <a:gd name="T2" fmla="*/ 556 w 1636"/>
                <a:gd name="T3" fmla="*/ 3 h 1608"/>
                <a:gd name="T4" fmla="*/ 585 w 1636"/>
                <a:gd name="T5" fmla="*/ 104 h 1608"/>
                <a:gd name="T6" fmla="*/ 614 w 1636"/>
                <a:gd name="T7" fmla="*/ 182 h 1608"/>
                <a:gd name="T8" fmla="*/ 650 w 1636"/>
                <a:gd name="T9" fmla="*/ 257 h 1608"/>
                <a:gd name="T10" fmla="*/ 695 w 1636"/>
                <a:gd name="T11" fmla="*/ 323 h 1608"/>
                <a:gd name="T12" fmla="*/ 747 w 1636"/>
                <a:gd name="T13" fmla="*/ 386 h 1608"/>
                <a:gd name="T14" fmla="*/ 806 w 1636"/>
                <a:gd name="T15" fmla="*/ 442 h 1608"/>
                <a:gd name="T16" fmla="*/ 871 w 1636"/>
                <a:gd name="T17" fmla="*/ 491 h 1608"/>
                <a:gd name="T18" fmla="*/ 941 w 1636"/>
                <a:gd name="T19" fmla="*/ 531 h 1608"/>
                <a:gd name="T20" fmla="*/ 1015 w 1636"/>
                <a:gd name="T21" fmla="*/ 564 h 1608"/>
                <a:gd name="T22" fmla="*/ 1093 w 1636"/>
                <a:gd name="T23" fmla="*/ 588 h 1608"/>
                <a:gd name="T24" fmla="*/ 1173 w 1636"/>
                <a:gd name="T25" fmla="*/ 604 h 1608"/>
                <a:gd name="T26" fmla="*/ 1257 w 1636"/>
                <a:gd name="T27" fmla="*/ 607 h 1608"/>
                <a:gd name="T28" fmla="*/ 1328 w 1636"/>
                <a:gd name="T29" fmla="*/ 604 h 1608"/>
                <a:gd name="T30" fmla="*/ 1398 w 1636"/>
                <a:gd name="T31" fmla="*/ 594 h 1608"/>
                <a:gd name="T32" fmla="*/ 1467 w 1636"/>
                <a:gd name="T33" fmla="*/ 575 h 1608"/>
                <a:gd name="T34" fmla="*/ 1533 w 1636"/>
                <a:gd name="T35" fmla="*/ 550 h 1608"/>
                <a:gd name="T36" fmla="*/ 1632 w 1636"/>
                <a:gd name="T37" fmla="*/ 510 h 1608"/>
                <a:gd name="T38" fmla="*/ 1636 w 1636"/>
                <a:gd name="T39" fmla="*/ 514 h 1608"/>
                <a:gd name="T40" fmla="*/ 1149 w 1636"/>
                <a:gd name="T41" fmla="*/ 1402 h 1608"/>
                <a:gd name="T42" fmla="*/ 1124 w 1636"/>
                <a:gd name="T43" fmla="*/ 1436 h 1608"/>
                <a:gd name="T44" fmla="*/ 1093 w 1636"/>
                <a:gd name="T45" fmla="*/ 1465 h 1608"/>
                <a:gd name="T46" fmla="*/ 1055 w 1636"/>
                <a:gd name="T47" fmla="*/ 1486 h 1608"/>
                <a:gd name="T48" fmla="*/ 1015 w 1636"/>
                <a:gd name="T49" fmla="*/ 1497 h 1608"/>
                <a:gd name="T50" fmla="*/ 444 w 1636"/>
                <a:gd name="T51" fmla="*/ 1604 h 1608"/>
                <a:gd name="T52" fmla="*/ 406 w 1636"/>
                <a:gd name="T53" fmla="*/ 1608 h 1608"/>
                <a:gd name="T54" fmla="*/ 368 w 1636"/>
                <a:gd name="T55" fmla="*/ 1602 h 1608"/>
                <a:gd name="T56" fmla="*/ 334 w 1636"/>
                <a:gd name="T57" fmla="*/ 1591 h 1608"/>
                <a:gd name="T58" fmla="*/ 301 w 1636"/>
                <a:gd name="T59" fmla="*/ 1573 h 1608"/>
                <a:gd name="T60" fmla="*/ 273 w 1636"/>
                <a:gd name="T61" fmla="*/ 1551 h 1608"/>
                <a:gd name="T62" fmla="*/ 248 w 1636"/>
                <a:gd name="T63" fmla="*/ 1520 h 1608"/>
                <a:gd name="T64" fmla="*/ 231 w 1636"/>
                <a:gd name="T65" fmla="*/ 1486 h 1608"/>
                <a:gd name="T66" fmla="*/ 14 w 1636"/>
                <a:gd name="T67" fmla="*/ 947 h 1608"/>
                <a:gd name="T68" fmla="*/ 2 w 1636"/>
                <a:gd name="T69" fmla="*/ 905 h 1608"/>
                <a:gd name="T70" fmla="*/ 0 w 1636"/>
                <a:gd name="T71" fmla="*/ 863 h 1608"/>
                <a:gd name="T72" fmla="*/ 8 w 1636"/>
                <a:gd name="T73" fmla="*/ 821 h 1608"/>
                <a:gd name="T74" fmla="*/ 23 w 1636"/>
                <a:gd name="T75" fmla="*/ 783 h 1608"/>
                <a:gd name="T76" fmla="*/ 454 w 1636"/>
                <a:gd name="T77" fmla="*/ 0 h 16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636" h="1608">
                  <a:moveTo>
                    <a:pt x="454" y="0"/>
                  </a:moveTo>
                  <a:lnTo>
                    <a:pt x="556" y="3"/>
                  </a:lnTo>
                  <a:lnTo>
                    <a:pt x="585" y="104"/>
                  </a:lnTo>
                  <a:lnTo>
                    <a:pt x="614" y="182"/>
                  </a:lnTo>
                  <a:lnTo>
                    <a:pt x="650" y="257"/>
                  </a:lnTo>
                  <a:lnTo>
                    <a:pt x="695" y="323"/>
                  </a:lnTo>
                  <a:lnTo>
                    <a:pt x="747" y="386"/>
                  </a:lnTo>
                  <a:lnTo>
                    <a:pt x="806" y="442"/>
                  </a:lnTo>
                  <a:lnTo>
                    <a:pt x="871" y="491"/>
                  </a:lnTo>
                  <a:lnTo>
                    <a:pt x="941" y="531"/>
                  </a:lnTo>
                  <a:lnTo>
                    <a:pt x="1015" y="564"/>
                  </a:lnTo>
                  <a:lnTo>
                    <a:pt x="1093" y="588"/>
                  </a:lnTo>
                  <a:lnTo>
                    <a:pt x="1173" y="604"/>
                  </a:lnTo>
                  <a:lnTo>
                    <a:pt x="1257" y="607"/>
                  </a:lnTo>
                  <a:lnTo>
                    <a:pt x="1328" y="604"/>
                  </a:lnTo>
                  <a:lnTo>
                    <a:pt x="1398" y="594"/>
                  </a:lnTo>
                  <a:lnTo>
                    <a:pt x="1467" y="575"/>
                  </a:lnTo>
                  <a:lnTo>
                    <a:pt x="1533" y="550"/>
                  </a:lnTo>
                  <a:lnTo>
                    <a:pt x="1632" y="510"/>
                  </a:lnTo>
                  <a:lnTo>
                    <a:pt x="1636" y="514"/>
                  </a:lnTo>
                  <a:lnTo>
                    <a:pt x="1149" y="1402"/>
                  </a:lnTo>
                  <a:lnTo>
                    <a:pt x="1124" y="1436"/>
                  </a:lnTo>
                  <a:lnTo>
                    <a:pt x="1093" y="1465"/>
                  </a:lnTo>
                  <a:lnTo>
                    <a:pt x="1055" y="1486"/>
                  </a:lnTo>
                  <a:lnTo>
                    <a:pt x="1015" y="1497"/>
                  </a:lnTo>
                  <a:lnTo>
                    <a:pt x="444" y="1604"/>
                  </a:lnTo>
                  <a:lnTo>
                    <a:pt x="406" y="1608"/>
                  </a:lnTo>
                  <a:lnTo>
                    <a:pt x="368" y="1602"/>
                  </a:lnTo>
                  <a:lnTo>
                    <a:pt x="334" y="1591"/>
                  </a:lnTo>
                  <a:lnTo>
                    <a:pt x="301" y="1573"/>
                  </a:lnTo>
                  <a:lnTo>
                    <a:pt x="273" y="1551"/>
                  </a:lnTo>
                  <a:lnTo>
                    <a:pt x="248" y="1520"/>
                  </a:lnTo>
                  <a:lnTo>
                    <a:pt x="231" y="1486"/>
                  </a:lnTo>
                  <a:lnTo>
                    <a:pt x="14" y="947"/>
                  </a:lnTo>
                  <a:lnTo>
                    <a:pt x="2" y="905"/>
                  </a:lnTo>
                  <a:lnTo>
                    <a:pt x="0" y="863"/>
                  </a:lnTo>
                  <a:lnTo>
                    <a:pt x="8" y="821"/>
                  </a:lnTo>
                  <a:lnTo>
                    <a:pt x="23" y="783"/>
                  </a:lnTo>
                  <a:lnTo>
                    <a:pt x="45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08" name="Freeform 425">
              <a:extLst>
                <a:ext uri="{FF2B5EF4-FFF2-40B4-BE49-F238E27FC236}">
                  <a16:creationId xmlns:a16="http://schemas.microsoft.com/office/drawing/2014/main" id="{6B323309-0F20-D326-D73E-7B2A1EEB348A}"/>
                </a:ext>
              </a:extLst>
            </p:cNvPr>
            <p:cNvSpPr>
              <a:spLocks/>
            </p:cNvSpPr>
            <p:nvPr/>
          </p:nvSpPr>
          <p:spPr bwMode="auto">
            <a:xfrm>
              <a:off x="5189" y="1451"/>
              <a:ext cx="1079" cy="1115"/>
            </a:xfrm>
            <a:custGeom>
              <a:avLst/>
              <a:gdLst>
                <a:gd name="T0" fmla="*/ 1245 w 2157"/>
                <a:gd name="T1" fmla="*/ 7 h 2229"/>
                <a:gd name="T2" fmla="*/ 1337 w 2157"/>
                <a:gd name="T3" fmla="*/ 49 h 2229"/>
                <a:gd name="T4" fmla="*/ 1409 w 2157"/>
                <a:gd name="T5" fmla="*/ 146 h 2229"/>
                <a:gd name="T6" fmla="*/ 1426 w 2157"/>
                <a:gd name="T7" fmla="*/ 320 h 2229"/>
                <a:gd name="T8" fmla="*/ 1361 w 2157"/>
                <a:gd name="T9" fmla="*/ 579 h 2229"/>
                <a:gd name="T10" fmla="*/ 1321 w 2157"/>
                <a:gd name="T11" fmla="*/ 773 h 2229"/>
                <a:gd name="T12" fmla="*/ 1329 w 2157"/>
                <a:gd name="T13" fmla="*/ 863 h 2229"/>
                <a:gd name="T14" fmla="*/ 1359 w 2157"/>
                <a:gd name="T15" fmla="*/ 888 h 2229"/>
                <a:gd name="T16" fmla="*/ 1382 w 2157"/>
                <a:gd name="T17" fmla="*/ 886 h 2229"/>
                <a:gd name="T18" fmla="*/ 1483 w 2157"/>
                <a:gd name="T19" fmla="*/ 865 h 2229"/>
                <a:gd name="T20" fmla="*/ 1592 w 2157"/>
                <a:gd name="T21" fmla="*/ 846 h 2229"/>
                <a:gd name="T22" fmla="*/ 1784 w 2157"/>
                <a:gd name="T23" fmla="*/ 834 h 2229"/>
                <a:gd name="T24" fmla="*/ 1978 w 2157"/>
                <a:gd name="T25" fmla="*/ 867 h 2229"/>
                <a:gd name="T26" fmla="*/ 2100 w 2157"/>
                <a:gd name="T27" fmla="*/ 977 h 2229"/>
                <a:gd name="T28" fmla="*/ 2112 w 2157"/>
                <a:gd name="T29" fmla="*/ 1101 h 2229"/>
                <a:gd name="T30" fmla="*/ 2083 w 2157"/>
                <a:gd name="T31" fmla="*/ 1173 h 2229"/>
                <a:gd name="T32" fmla="*/ 2102 w 2157"/>
                <a:gd name="T33" fmla="*/ 1200 h 2229"/>
                <a:gd name="T34" fmla="*/ 2150 w 2157"/>
                <a:gd name="T35" fmla="*/ 1292 h 2229"/>
                <a:gd name="T36" fmla="*/ 2136 w 2157"/>
                <a:gd name="T37" fmla="*/ 1435 h 2229"/>
                <a:gd name="T38" fmla="*/ 2087 w 2157"/>
                <a:gd name="T39" fmla="*/ 1534 h 2229"/>
                <a:gd name="T40" fmla="*/ 2110 w 2157"/>
                <a:gd name="T41" fmla="*/ 1631 h 2229"/>
                <a:gd name="T42" fmla="*/ 2068 w 2157"/>
                <a:gd name="T43" fmla="*/ 1779 h 2229"/>
                <a:gd name="T44" fmla="*/ 1995 w 2157"/>
                <a:gd name="T45" fmla="*/ 1869 h 2229"/>
                <a:gd name="T46" fmla="*/ 2001 w 2157"/>
                <a:gd name="T47" fmla="*/ 1943 h 2229"/>
                <a:gd name="T48" fmla="*/ 1963 w 2157"/>
                <a:gd name="T49" fmla="*/ 2054 h 2229"/>
                <a:gd name="T50" fmla="*/ 1832 w 2157"/>
                <a:gd name="T51" fmla="*/ 2159 h 2229"/>
                <a:gd name="T52" fmla="*/ 1571 w 2157"/>
                <a:gd name="T53" fmla="*/ 2212 h 2229"/>
                <a:gd name="T54" fmla="*/ 1230 w 2157"/>
                <a:gd name="T55" fmla="*/ 2206 h 2229"/>
                <a:gd name="T56" fmla="*/ 889 w 2157"/>
                <a:gd name="T57" fmla="*/ 2185 h 2229"/>
                <a:gd name="T58" fmla="*/ 744 w 2157"/>
                <a:gd name="T59" fmla="*/ 2079 h 2229"/>
                <a:gd name="T60" fmla="*/ 663 w 2157"/>
                <a:gd name="T61" fmla="*/ 1907 h 2229"/>
                <a:gd name="T62" fmla="*/ 625 w 2157"/>
                <a:gd name="T63" fmla="*/ 1730 h 2229"/>
                <a:gd name="T64" fmla="*/ 615 w 2157"/>
                <a:gd name="T65" fmla="*/ 1606 h 2229"/>
                <a:gd name="T66" fmla="*/ 611 w 2157"/>
                <a:gd name="T67" fmla="*/ 2090 h 2229"/>
                <a:gd name="T68" fmla="*/ 583 w 2157"/>
                <a:gd name="T69" fmla="*/ 2183 h 2229"/>
                <a:gd name="T70" fmla="*/ 505 w 2157"/>
                <a:gd name="T71" fmla="*/ 2225 h 2229"/>
                <a:gd name="T72" fmla="*/ 105 w 2157"/>
                <a:gd name="T73" fmla="*/ 2210 h 2229"/>
                <a:gd name="T74" fmla="*/ 6 w 2157"/>
                <a:gd name="T75" fmla="*/ 2084 h 2229"/>
                <a:gd name="T76" fmla="*/ 19 w 2157"/>
                <a:gd name="T77" fmla="*/ 1212 h 2229"/>
                <a:gd name="T78" fmla="*/ 145 w 2157"/>
                <a:gd name="T79" fmla="*/ 1112 h 2229"/>
                <a:gd name="T80" fmla="*/ 552 w 2157"/>
                <a:gd name="T81" fmla="*/ 1128 h 2229"/>
                <a:gd name="T82" fmla="*/ 653 w 2157"/>
                <a:gd name="T83" fmla="*/ 1027 h 2229"/>
                <a:gd name="T84" fmla="*/ 794 w 2157"/>
                <a:gd name="T85" fmla="*/ 871 h 2229"/>
                <a:gd name="T86" fmla="*/ 923 w 2157"/>
                <a:gd name="T87" fmla="*/ 655 h 2229"/>
                <a:gd name="T88" fmla="*/ 1030 w 2157"/>
                <a:gd name="T89" fmla="*/ 430 h 2229"/>
                <a:gd name="T90" fmla="*/ 1099 w 2157"/>
                <a:gd name="T91" fmla="*/ 265 h 2229"/>
                <a:gd name="T92" fmla="*/ 1116 w 2157"/>
                <a:gd name="T93" fmla="*/ 215 h 2229"/>
                <a:gd name="T94" fmla="*/ 1110 w 2157"/>
                <a:gd name="T95" fmla="*/ 137 h 2229"/>
                <a:gd name="T96" fmla="*/ 1129 w 2157"/>
                <a:gd name="T97" fmla="*/ 34 h 2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157" h="2229">
                  <a:moveTo>
                    <a:pt x="1184" y="0"/>
                  </a:moveTo>
                  <a:lnTo>
                    <a:pt x="1203" y="0"/>
                  </a:lnTo>
                  <a:lnTo>
                    <a:pt x="1222" y="4"/>
                  </a:lnTo>
                  <a:lnTo>
                    <a:pt x="1245" y="7"/>
                  </a:lnTo>
                  <a:lnTo>
                    <a:pt x="1268" y="13"/>
                  </a:lnTo>
                  <a:lnTo>
                    <a:pt x="1291" y="23"/>
                  </a:lnTo>
                  <a:lnTo>
                    <a:pt x="1314" y="34"/>
                  </a:lnTo>
                  <a:lnTo>
                    <a:pt x="1337" y="49"/>
                  </a:lnTo>
                  <a:lnTo>
                    <a:pt x="1358" y="68"/>
                  </a:lnTo>
                  <a:lnTo>
                    <a:pt x="1377" y="89"/>
                  </a:lnTo>
                  <a:lnTo>
                    <a:pt x="1394" y="116"/>
                  </a:lnTo>
                  <a:lnTo>
                    <a:pt x="1409" y="146"/>
                  </a:lnTo>
                  <a:lnTo>
                    <a:pt x="1420" y="183"/>
                  </a:lnTo>
                  <a:lnTo>
                    <a:pt x="1426" y="223"/>
                  </a:lnTo>
                  <a:lnTo>
                    <a:pt x="1430" y="268"/>
                  </a:lnTo>
                  <a:lnTo>
                    <a:pt x="1426" y="320"/>
                  </a:lnTo>
                  <a:lnTo>
                    <a:pt x="1419" y="377"/>
                  </a:lnTo>
                  <a:lnTo>
                    <a:pt x="1405" y="440"/>
                  </a:lnTo>
                  <a:lnTo>
                    <a:pt x="1384" y="510"/>
                  </a:lnTo>
                  <a:lnTo>
                    <a:pt x="1361" y="579"/>
                  </a:lnTo>
                  <a:lnTo>
                    <a:pt x="1346" y="640"/>
                  </a:lnTo>
                  <a:lnTo>
                    <a:pt x="1333" y="691"/>
                  </a:lnTo>
                  <a:lnTo>
                    <a:pt x="1325" y="735"/>
                  </a:lnTo>
                  <a:lnTo>
                    <a:pt x="1321" y="773"/>
                  </a:lnTo>
                  <a:lnTo>
                    <a:pt x="1320" y="804"/>
                  </a:lnTo>
                  <a:lnTo>
                    <a:pt x="1320" y="829"/>
                  </a:lnTo>
                  <a:lnTo>
                    <a:pt x="1323" y="848"/>
                  </a:lnTo>
                  <a:lnTo>
                    <a:pt x="1329" y="863"/>
                  </a:lnTo>
                  <a:lnTo>
                    <a:pt x="1337" y="874"/>
                  </a:lnTo>
                  <a:lnTo>
                    <a:pt x="1344" y="882"/>
                  </a:lnTo>
                  <a:lnTo>
                    <a:pt x="1352" y="886"/>
                  </a:lnTo>
                  <a:lnTo>
                    <a:pt x="1359" y="888"/>
                  </a:lnTo>
                  <a:lnTo>
                    <a:pt x="1367" y="888"/>
                  </a:lnTo>
                  <a:lnTo>
                    <a:pt x="1375" y="888"/>
                  </a:lnTo>
                  <a:lnTo>
                    <a:pt x="1379" y="886"/>
                  </a:lnTo>
                  <a:lnTo>
                    <a:pt x="1382" y="886"/>
                  </a:lnTo>
                  <a:lnTo>
                    <a:pt x="1384" y="884"/>
                  </a:lnTo>
                  <a:lnTo>
                    <a:pt x="1432" y="874"/>
                  </a:lnTo>
                  <a:lnTo>
                    <a:pt x="1478" y="865"/>
                  </a:lnTo>
                  <a:lnTo>
                    <a:pt x="1483" y="865"/>
                  </a:lnTo>
                  <a:lnTo>
                    <a:pt x="1498" y="861"/>
                  </a:lnTo>
                  <a:lnTo>
                    <a:pt x="1523" y="857"/>
                  </a:lnTo>
                  <a:lnTo>
                    <a:pt x="1554" y="851"/>
                  </a:lnTo>
                  <a:lnTo>
                    <a:pt x="1592" y="846"/>
                  </a:lnTo>
                  <a:lnTo>
                    <a:pt x="1636" y="842"/>
                  </a:lnTo>
                  <a:lnTo>
                    <a:pt x="1683" y="836"/>
                  </a:lnTo>
                  <a:lnTo>
                    <a:pt x="1733" y="834"/>
                  </a:lnTo>
                  <a:lnTo>
                    <a:pt x="1784" y="834"/>
                  </a:lnTo>
                  <a:lnTo>
                    <a:pt x="1836" y="838"/>
                  </a:lnTo>
                  <a:lnTo>
                    <a:pt x="1885" y="844"/>
                  </a:lnTo>
                  <a:lnTo>
                    <a:pt x="1935" y="853"/>
                  </a:lnTo>
                  <a:lnTo>
                    <a:pt x="1978" y="867"/>
                  </a:lnTo>
                  <a:lnTo>
                    <a:pt x="2018" y="888"/>
                  </a:lnTo>
                  <a:lnTo>
                    <a:pt x="2053" y="912"/>
                  </a:lnTo>
                  <a:lnTo>
                    <a:pt x="2081" y="945"/>
                  </a:lnTo>
                  <a:lnTo>
                    <a:pt x="2100" y="977"/>
                  </a:lnTo>
                  <a:lnTo>
                    <a:pt x="2112" y="1010"/>
                  </a:lnTo>
                  <a:lnTo>
                    <a:pt x="2115" y="1042"/>
                  </a:lnTo>
                  <a:lnTo>
                    <a:pt x="2115" y="1072"/>
                  </a:lnTo>
                  <a:lnTo>
                    <a:pt x="2112" y="1101"/>
                  </a:lnTo>
                  <a:lnTo>
                    <a:pt x="2104" y="1126"/>
                  </a:lnTo>
                  <a:lnTo>
                    <a:pt x="2096" y="1147"/>
                  </a:lnTo>
                  <a:lnTo>
                    <a:pt x="2089" y="1162"/>
                  </a:lnTo>
                  <a:lnTo>
                    <a:pt x="2083" y="1173"/>
                  </a:lnTo>
                  <a:lnTo>
                    <a:pt x="2081" y="1175"/>
                  </a:lnTo>
                  <a:lnTo>
                    <a:pt x="2083" y="1179"/>
                  </a:lnTo>
                  <a:lnTo>
                    <a:pt x="2091" y="1187"/>
                  </a:lnTo>
                  <a:lnTo>
                    <a:pt x="2102" y="1200"/>
                  </a:lnTo>
                  <a:lnTo>
                    <a:pt x="2115" y="1217"/>
                  </a:lnTo>
                  <a:lnTo>
                    <a:pt x="2129" y="1238"/>
                  </a:lnTo>
                  <a:lnTo>
                    <a:pt x="2140" y="1263"/>
                  </a:lnTo>
                  <a:lnTo>
                    <a:pt x="2150" y="1292"/>
                  </a:lnTo>
                  <a:lnTo>
                    <a:pt x="2157" y="1324"/>
                  </a:lnTo>
                  <a:lnTo>
                    <a:pt x="2157" y="1358"/>
                  </a:lnTo>
                  <a:lnTo>
                    <a:pt x="2152" y="1396"/>
                  </a:lnTo>
                  <a:lnTo>
                    <a:pt x="2136" y="1435"/>
                  </a:lnTo>
                  <a:lnTo>
                    <a:pt x="2114" y="1476"/>
                  </a:lnTo>
                  <a:lnTo>
                    <a:pt x="2079" y="1518"/>
                  </a:lnTo>
                  <a:lnTo>
                    <a:pt x="2081" y="1522"/>
                  </a:lnTo>
                  <a:lnTo>
                    <a:pt x="2087" y="1534"/>
                  </a:lnTo>
                  <a:lnTo>
                    <a:pt x="2093" y="1551"/>
                  </a:lnTo>
                  <a:lnTo>
                    <a:pt x="2100" y="1572"/>
                  </a:lnTo>
                  <a:lnTo>
                    <a:pt x="2106" y="1600"/>
                  </a:lnTo>
                  <a:lnTo>
                    <a:pt x="2110" y="1631"/>
                  </a:lnTo>
                  <a:lnTo>
                    <a:pt x="2110" y="1665"/>
                  </a:lnTo>
                  <a:lnTo>
                    <a:pt x="2104" y="1701"/>
                  </a:lnTo>
                  <a:lnTo>
                    <a:pt x="2091" y="1741"/>
                  </a:lnTo>
                  <a:lnTo>
                    <a:pt x="2068" y="1779"/>
                  </a:lnTo>
                  <a:lnTo>
                    <a:pt x="2035" y="1819"/>
                  </a:lnTo>
                  <a:lnTo>
                    <a:pt x="1992" y="1858"/>
                  </a:lnTo>
                  <a:lnTo>
                    <a:pt x="1992" y="1859"/>
                  </a:lnTo>
                  <a:lnTo>
                    <a:pt x="1995" y="1869"/>
                  </a:lnTo>
                  <a:lnTo>
                    <a:pt x="1997" y="1882"/>
                  </a:lnTo>
                  <a:lnTo>
                    <a:pt x="1999" y="1899"/>
                  </a:lnTo>
                  <a:lnTo>
                    <a:pt x="2001" y="1920"/>
                  </a:lnTo>
                  <a:lnTo>
                    <a:pt x="2001" y="1943"/>
                  </a:lnTo>
                  <a:lnTo>
                    <a:pt x="1997" y="1970"/>
                  </a:lnTo>
                  <a:lnTo>
                    <a:pt x="1992" y="1997"/>
                  </a:lnTo>
                  <a:lnTo>
                    <a:pt x="1980" y="2025"/>
                  </a:lnTo>
                  <a:lnTo>
                    <a:pt x="1963" y="2054"/>
                  </a:lnTo>
                  <a:lnTo>
                    <a:pt x="1942" y="2082"/>
                  </a:lnTo>
                  <a:lnTo>
                    <a:pt x="1914" y="2109"/>
                  </a:lnTo>
                  <a:lnTo>
                    <a:pt x="1876" y="2134"/>
                  </a:lnTo>
                  <a:lnTo>
                    <a:pt x="1832" y="2159"/>
                  </a:lnTo>
                  <a:lnTo>
                    <a:pt x="1776" y="2178"/>
                  </a:lnTo>
                  <a:lnTo>
                    <a:pt x="1712" y="2195"/>
                  </a:lnTo>
                  <a:lnTo>
                    <a:pt x="1645" y="2206"/>
                  </a:lnTo>
                  <a:lnTo>
                    <a:pt x="1571" y="2212"/>
                  </a:lnTo>
                  <a:lnTo>
                    <a:pt x="1493" y="2214"/>
                  </a:lnTo>
                  <a:lnTo>
                    <a:pt x="1415" y="2212"/>
                  </a:lnTo>
                  <a:lnTo>
                    <a:pt x="1337" y="2206"/>
                  </a:lnTo>
                  <a:lnTo>
                    <a:pt x="1230" y="2206"/>
                  </a:lnTo>
                  <a:lnTo>
                    <a:pt x="1127" y="2204"/>
                  </a:lnTo>
                  <a:lnTo>
                    <a:pt x="1028" y="2201"/>
                  </a:lnTo>
                  <a:lnTo>
                    <a:pt x="937" y="2195"/>
                  </a:lnTo>
                  <a:lnTo>
                    <a:pt x="889" y="2185"/>
                  </a:lnTo>
                  <a:lnTo>
                    <a:pt x="847" y="2168"/>
                  </a:lnTo>
                  <a:lnTo>
                    <a:pt x="807" y="2143"/>
                  </a:lnTo>
                  <a:lnTo>
                    <a:pt x="775" y="2113"/>
                  </a:lnTo>
                  <a:lnTo>
                    <a:pt x="744" y="2079"/>
                  </a:lnTo>
                  <a:lnTo>
                    <a:pt x="718" y="2039"/>
                  </a:lnTo>
                  <a:lnTo>
                    <a:pt x="697" y="1997"/>
                  </a:lnTo>
                  <a:lnTo>
                    <a:pt x="678" y="1953"/>
                  </a:lnTo>
                  <a:lnTo>
                    <a:pt x="663" y="1907"/>
                  </a:lnTo>
                  <a:lnTo>
                    <a:pt x="649" y="1861"/>
                  </a:lnTo>
                  <a:lnTo>
                    <a:pt x="640" y="1816"/>
                  </a:lnTo>
                  <a:lnTo>
                    <a:pt x="630" y="1772"/>
                  </a:lnTo>
                  <a:lnTo>
                    <a:pt x="625" y="1730"/>
                  </a:lnTo>
                  <a:lnTo>
                    <a:pt x="621" y="1692"/>
                  </a:lnTo>
                  <a:lnTo>
                    <a:pt x="617" y="1657"/>
                  </a:lnTo>
                  <a:lnTo>
                    <a:pt x="615" y="1629"/>
                  </a:lnTo>
                  <a:lnTo>
                    <a:pt x="615" y="1606"/>
                  </a:lnTo>
                  <a:lnTo>
                    <a:pt x="613" y="1593"/>
                  </a:lnTo>
                  <a:lnTo>
                    <a:pt x="613" y="1585"/>
                  </a:lnTo>
                  <a:lnTo>
                    <a:pt x="613" y="2050"/>
                  </a:lnTo>
                  <a:lnTo>
                    <a:pt x="611" y="2090"/>
                  </a:lnTo>
                  <a:lnTo>
                    <a:pt x="607" y="2122"/>
                  </a:lnTo>
                  <a:lnTo>
                    <a:pt x="600" y="2149"/>
                  </a:lnTo>
                  <a:lnTo>
                    <a:pt x="590" y="2168"/>
                  </a:lnTo>
                  <a:lnTo>
                    <a:pt x="583" y="2183"/>
                  </a:lnTo>
                  <a:lnTo>
                    <a:pt x="575" y="2191"/>
                  </a:lnTo>
                  <a:lnTo>
                    <a:pt x="571" y="2197"/>
                  </a:lnTo>
                  <a:lnTo>
                    <a:pt x="539" y="2214"/>
                  </a:lnTo>
                  <a:lnTo>
                    <a:pt x="505" y="2225"/>
                  </a:lnTo>
                  <a:lnTo>
                    <a:pt x="466" y="2229"/>
                  </a:lnTo>
                  <a:lnTo>
                    <a:pt x="187" y="2229"/>
                  </a:lnTo>
                  <a:lnTo>
                    <a:pt x="145" y="2223"/>
                  </a:lnTo>
                  <a:lnTo>
                    <a:pt x="105" y="2210"/>
                  </a:lnTo>
                  <a:lnTo>
                    <a:pt x="70" y="2187"/>
                  </a:lnTo>
                  <a:lnTo>
                    <a:pt x="42" y="2159"/>
                  </a:lnTo>
                  <a:lnTo>
                    <a:pt x="19" y="2124"/>
                  </a:lnTo>
                  <a:lnTo>
                    <a:pt x="6" y="2084"/>
                  </a:lnTo>
                  <a:lnTo>
                    <a:pt x="0" y="2042"/>
                  </a:lnTo>
                  <a:lnTo>
                    <a:pt x="0" y="1294"/>
                  </a:lnTo>
                  <a:lnTo>
                    <a:pt x="6" y="1252"/>
                  </a:lnTo>
                  <a:lnTo>
                    <a:pt x="19" y="1212"/>
                  </a:lnTo>
                  <a:lnTo>
                    <a:pt x="40" y="1177"/>
                  </a:lnTo>
                  <a:lnTo>
                    <a:pt x="70" y="1149"/>
                  </a:lnTo>
                  <a:lnTo>
                    <a:pt x="105" y="1126"/>
                  </a:lnTo>
                  <a:lnTo>
                    <a:pt x="145" y="1112"/>
                  </a:lnTo>
                  <a:lnTo>
                    <a:pt x="187" y="1107"/>
                  </a:lnTo>
                  <a:lnTo>
                    <a:pt x="466" y="1107"/>
                  </a:lnTo>
                  <a:lnTo>
                    <a:pt x="512" y="1112"/>
                  </a:lnTo>
                  <a:lnTo>
                    <a:pt x="552" y="1128"/>
                  </a:lnTo>
                  <a:lnTo>
                    <a:pt x="588" y="1153"/>
                  </a:lnTo>
                  <a:lnTo>
                    <a:pt x="604" y="1114"/>
                  </a:lnTo>
                  <a:lnTo>
                    <a:pt x="625" y="1072"/>
                  </a:lnTo>
                  <a:lnTo>
                    <a:pt x="653" y="1027"/>
                  </a:lnTo>
                  <a:lnTo>
                    <a:pt x="689" y="981"/>
                  </a:lnTo>
                  <a:lnTo>
                    <a:pt x="724" y="951"/>
                  </a:lnTo>
                  <a:lnTo>
                    <a:pt x="760" y="914"/>
                  </a:lnTo>
                  <a:lnTo>
                    <a:pt x="794" y="871"/>
                  </a:lnTo>
                  <a:lnTo>
                    <a:pt x="828" y="821"/>
                  </a:lnTo>
                  <a:lnTo>
                    <a:pt x="861" y="768"/>
                  </a:lnTo>
                  <a:lnTo>
                    <a:pt x="893" y="712"/>
                  </a:lnTo>
                  <a:lnTo>
                    <a:pt x="923" y="655"/>
                  </a:lnTo>
                  <a:lnTo>
                    <a:pt x="954" y="598"/>
                  </a:lnTo>
                  <a:lnTo>
                    <a:pt x="981" y="541"/>
                  </a:lnTo>
                  <a:lnTo>
                    <a:pt x="1007" y="484"/>
                  </a:lnTo>
                  <a:lnTo>
                    <a:pt x="1030" y="430"/>
                  </a:lnTo>
                  <a:lnTo>
                    <a:pt x="1053" y="381"/>
                  </a:lnTo>
                  <a:lnTo>
                    <a:pt x="1070" y="335"/>
                  </a:lnTo>
                  <a:lnTo>
                    <a:pt x="1087" y="297"/>
                  </a:lnTo>
                  <a:lnTo>
                    <a:pt x="1099" y="265"/>
                  </a:lnTo>
                  <a:lnTo>
                    <a:pt x="1108" y="240"/>
                  </a:lnTo>
                  <a:lnTo>
                    <a:pt x="1114" y="225"/>
                  </a:lnTo>
                  <a:lnTo>
                    <a:pt x="1116" y="219"/>
                  </a:lnTo>
                  <a:lnTo>
                    <a:pt x="1116" y="215"/>
                  </a:lnTo>
                  <a:lnTo>
                    <a:pt x="1114" y="202"/>
                  </a:lnTo>
                  <a:lnTo>
                    <a:pt x="1112" y="185"/>
                  </a:lnTo>
                  <a:lnTo>
                    <a:pt x="1112" y="162"/>
                  </a:lnTo>
                  <a:lnTo>
                    <a:pt x="1110" y="137"/>
                  </a:lnTo>
                  <a:lnTo>
                    <a:pt x="1112" y="110"/>
                  </a:lnTo>
                  <a:lnTo>
                    <a:pt x="1116" y="82"/>
                  </a:lnTo>
                  <a:lnTo>
                    <a:pt x="1121" y="57"/>
                  </a:lnTo>
                  <a:lnTo>
                    <a:pt x="1129" y="34"/>
                  </a:lnTo>
                  <a:lnTo>
                    <a:pt x="1144" y="17"/>
                  </a:lnTo>
                  <a:lnTo>
                    <a:pt x="1161" y="4"/>
                  </a:lnTo>
                  <a:lnTo>
                    <a:pt x="118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</p:spTree>
    <p:extLst>
      <p:ext uri="{BB962C8B-B14F-4D97-AF65-F5344CB8AC3E}">
        <p14:creationId xmlns:p14="http://schemas.microsoft.com/office/powerpoint/2010/main" val="409009369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564122-7C24-4E05-A89C-FF1EB561C9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t>Ansprechpartner in Ditzingen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AFCDC8E4-B798-DBD3-E47F-9748A20FC5BA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/>
              <a:t>Thomas Kieferle</a:t>
            </a:r>
          </a:p>
          <a:p>
            <a:r>
              <a:rPr lang="de-DE" dirty="0"/>
              <a:t>Innovationswerkstatt</a:t>
            </a:r>
          </a:p>
          <a:p>
            <a:r>
              <a:rPr lang="de-DE" dirty="0"/>
              <a:t>(Telefon: +49 7156 303-33120, IP-Telefon: 33120)</a:t>
            </a:r>
          </a:p>
          <a:p>
            <a:r>
              <a:rPr lang="de-DE" dirty="0"/>
              <a:t>thomas.kieferle@trumpf.com</a:t>
            </a:r>
          </a:p>
          <a:p>
            <a:endParaRPr lang="de-DE" dirty="0"/>
          </a:p>
          <a:p>
            <a:endParaRPr lang="de-DE" dirty="0"/>
          </a:p>
          <a:p>
            <a:r>
              <a:rPr lang="de-DE" dirty="0"/>
              <a:t>Arne Steck</a:t>
            </a:r>
          </a:p>
          <a:p>
            <a:r>
              <a:rPr lang="de-DE" dirty="0"/>
              <a:t>Design Consulting + Materials AM</a:t>
            </a:r>
          </a:p>
          <a:p>
            <a:r>
              <a:rPr lang="de-DE" dirty="0"/>
              <a:t>(Telefon: +49 7156 303-33724, Mobil: +49 170 8391488)</a:t>
            </a:r>
          </a:p>
          <a:p>
            <a:r>
              <a:rPr lang="de-DE" dirty="0"/>
              <a:t>arne.steck@trumpf.com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C0A3169-314D-76ED-1FCC-10E897D5B90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Ihr Kontakt zur Innovationswerkstatt für LMF/ </a:t>
            </a:r>
            <a:r>
              <a:rPr lang="de-DE" dirty="0" err="1"/>
              <a:t>TruPrint</a:t>
            </a:r>
            <a:endParaRPr lang="de-DE" dirty="0"/>
          </a:p>
          <a:p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2B8D83F-8167-91E7-6430-6D7FD67E7D0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D57957C-F0F3-7842-B0E2-B762F92D6487}" type="slidenum">
              <a:rPr lang="de-DE" b="0" smtClean="0">
                <a:solidFill>
                  <a:schemeClr val="tx1"/>
                </a:solidFill>
              </a:rPr>
              <a:pPr/>
              <a:t>13</a:t>
            </a:fld>
            <a:r>
              <a:rPr lang="de-DE">
                <a:solidFill>
                  <a:schemeClr val="accent1"/>
                </a:solidFill>
              </a:rPr>
              <a:t>  </a:t>
            </a:r>
            <a:r>
              <a:rPr lang="de-DE" b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6628F39-9AE4-A527-E204-3470DF42551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Jeanette Thumm Update Empower</a:t>
            </a:r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CBA94DA7-4D16-1C36-2125-FEE19E227E5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AB19A4FC-76FE-4B52-A6BC-C4A9405F94A9}" type="datetime1">
              <a:rPr lang="de-DE" smtClean="0"/>
              <a:pPr/>
              <a:t>21.04.2023</a:t>
            </a:fld>
            <a:endParaRPr lang="de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1502B1A-8CC8-47B2-B399-C26558FC36BF}"/>
              </a:ext>
            </a:extLst>
          </p:cNvPr>
          <p:cNvSpPr>
            <a:spLocks noGrp="1"/>
          </p:cNvSpPr>
          <p:nvPr/>
        </p:nvSpPr>
        <p:spPr>
          <a:xfrm>
            <a:off x="515938" y="1982082"/>
            <a:ext cx="11160125" cy="3846317"/>
          </a:xfrm>
          <a:prstGeom prst="rect">
            <a:avLst/>
          </a:prstGeom>
        </p:spPr>
        <p:txBody>
          <a:bodyPr/>
          <a:lstStyle>
            <a:lvl1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None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21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43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648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64000" indent="-216000" algn="l" defTabSz="914355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lang="de-DE" sz="1600" b="0" i="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0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9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1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47C864DD-CBF2-4E65-86F1-9DE2E85DF828}"/>
              </a:ext>
            </a:extLst>
          </p:cNvPr>
          <p:cNvSpPr>
            <a:spLocks noGrp="1"/>
          </p:cNvSpPr>
          <p:nvPr/>
        </p:nvSpPr>
        <p:spPr>
          <a:xfrm>
            <a:off x="515938" y="1483200"/>
            <a:ext cx="11160000" cy="343274"/>
          </a:xfrm>
          <a:prstGeom prst="rect">
            <a:avLst/>
          </a:prstGeom>
        </p:spPr>
        <p:txBody>
          <a:bodyPr/>
          <a:lstStyle>
            <a:lvl1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de-DE" sz="2800" b="0" kern="1200" smtClean="0">
                <a:solidFill>
                  <a:schemeClr val="tx2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  <a:lvl2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None/>
              <a:defRPr lang="de-DE" sz="1600" b="0" i="0" kern="12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21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lang="de-DE" sz="1600" b="0" i="0" kern="12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43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lang="de-DE" sz="1600" b="0" i="0" kern="12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648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lang="de-DE"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64000" indent="-216000" algn="l" defTabSz="914355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lang="de-DE" sz="1600" b="0" i="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0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9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1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/>
          </a:p>
        </p:txBody>
      </p:sp>
      <p:pic>
        <p:nvPicPr>
          <p:cNvPr id="12290" name="Picture 2">
            <a:extLst>
              <a:ext uri="{FF2B5EF4-FFF2-40B4-BE49-F238E27FC236}">
                <a16:creationId xmlns:a16="http://schemas.microsoft.com/office/drawing/2014/main" id="{A49311CE-65ED-41DD-A601-9843BD9667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38742" y="1484313"/>
            <a:ext cx="1303952" cy="17584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EA7B9C18-FB5E-48A3-AFA9-41BB86F58717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84681" y="3655800"/>
            <a:ext cx="2612074" cy="17584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450637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1">
            <a:extLst>
              <a:ext uri="{FF2B5EF4-FFF2-40B4-BE49-F238E27FC236}">
                <a16:creationId xmlns:a16="http://schemas.microsoft.com/office/drawing/2014/main" id="{CE84F87F-EB49-4E94-BFAA-523402F76ADF}"/>
              </a:ext>
            </a:extLst>
          </p:cNvPr>
          <p:cNvSpPr>
            <a:spLocks noGrp="1"/>
          </p:cNvSpPr>
          <p:nvPr/>
        </p:nvSpPr>
        <p:spPr>
          <a:xfrm>
            <a:off x="515938" y="1483200"/>
            <a:ext cx="11160125" cy="4345201"/>
          </a:xfrm>
          <a:prstGeom prst="rect">
            <a:avLst/>
          </a:prstGeom>
        </p:spPr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11EEDF5-8380-ABC2-ECDE-D8A8DD7A49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D57957C-F0F3-7842-B0E2-B762F92D6487}" type="slidenum">
              <a:rPr lang="de-DE" b="0" smtClean="0">
                <a:solidFill>
                  <a:schemeClr val="tx1"/>
                </a:solidFill>
              </a:rPr>
              <a:pPr/>
              <a:t>14</a:t>
            </a:fld>
            <a:r>
              <a:rPr lang="de-DE">
                <a:solidFill>
                  <a:schemeClr val="accent1"/>
                </a:solidFill>
              </a:rPr>
              <a:t>  </a:t>
            </a:r>
            <a:r>
              <a:rPr lang="de-DE" b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2623386-D92B-A000-FAFE-491ACD5B3CB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Jeanette Thumm Update Empower</a:t>
            </a:r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DBDF56F-F9FD-3055-7230-1B379B55C4E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AB19A4FC-76FE-4B52-A6BC-C4A9405F94A9}" type="datetime1">
              <a:rPr lang="de-DE" smtClean="0"/>
              <a:pPr/>
              <a:t>21.04.2023</a:t>
            </a:fld>
            <a:endParaRPr lang="de-DE" dirty="0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0C009E8D-04BB-0B20-D2B6-632579745A31}"/>
              </a:ext>
            </a:extLst>
          </p:cNvPr>
          <p:cNvSpPr txBox="1"/>
          <p:nvPr/>
        </p:nvSpPr>
        <p:spPr>
          <a:xfrm>
            <a:off x="515937" y="2978692"/>
            <a:ext cx="11160125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4800" dirty="0"/>
              <a:t>Vielen</a:t>
            </a:r>
            <a:r>
              <a:rPr lang="de-DE" sz="4400" dirty="0"/>
              <a:t> Dank für Ihre Aufmerksamkeit</a:t>
            </a:r>
          </a:p>
        </p:txBody>
      </p:sp>
    </p:spTree>
    <p:extLst>
      <p:ext uri="{BB962C8B-B14F-4D97-AF65-F5344CB8AC3E}">
        <p14:creationId xmlns:p14="http://schemas.microsoft.com/office/powerpoint/2010/main" val="404383897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564122-7C24-4E05-A89C-FF1EB561C9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t>Vorstellung des Referenten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625114DA-3BC5-D9A9-A059-F0ACC721939B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de-DE" dirty="0"/>
          </a:p>
          <a:p>
            <a:r>
              <a:rPr lang="de-DE" dirty="0"/>
              <a:t>Thomas Kieferle</a:t>
            </a:r>
          </a:p>
          <a:p>
            <a:r>
              <a:rPr lang="de-DE" dirty="0"/>
              <a:t>M. Science</a:t>
            </a:r>
          </a:p>
          <a:p>
            <a:r>
              <a:rPr lang="de-DE" dirty="0"/>
              <a:t>Bei TRUMPF seit 2012, in der Innovationswerkstatt seit 2019</a:t>
            </a: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r>
              <a:rPr lang="de-DE" dirty="0"/>
              <a:t>2012 - 2019: Versch. Positionen bei TRUMPF (Qualitätssicherung &amp; Industrie 4.0)</a:t>
            </a:r>
          </a:p>
          <a:p>
            <a:endParaRPr lang="de-DE" dirty="0"/>
          </a:p>
          <a:p>
            <a:r>
              <a:rPr lang="de-DE" dirty="0"/>
              <a:t>Seit 2019: Leiter Innovationswerkstatt</a:t>
            </a:r>
          </a:p>
          <a:p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30D6096-1920-72DC-BA00-34BE7829C32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Wer spricht denn da?</a:t>
            </a:r>
          </a:p>
          <a:p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BACF661-6073-7D25-5D34-BDA893D0E0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D57957C-F0F3-7842-B0E2-B762F92D6487}" type="slidenum">
              <a:rPr lang="de-DE" b="0" smtClean="0">
                <a:solidFill>
                  <a:schemeClr val="tx1"/>
                </a:solidFill>
              </a:rPr>
              <a:pPr/>
              <a:t>2</a:t>
            </a:fld>
            <a:r>
              <a:rPr lang="de-DE">
                <a:solidFill>
                  <a:schemeClr val="accent1"/>
                </a:solidFill>
              </a:rPr>
              <a:t>  </a:t>
            </a:r>
            <a:r>
              <a:rPr lang="de-DE" b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8990D78-558C-44C7-DF32-7E512BD5112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Thomas Kieferle | Innovationswerkstatt MT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F78B1121-9AF6-2659-1239-A856F0F22E88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AB19A4FC-76FE-4B52-A6BC-C4A9405F94A9}" type="datetime1">
              <a:rPr lang="de-DE" smtClean="0"/>
              <a:pPr/>
              <a:t>21.04.2023</a:t>
            </a:fld>
            <a:endParaRPr lang="de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1502B1A-8CC8-47B2-B399-C26558FC36BF}"/>
              </a:ext>
            </a:extLst>
          </p:cNvPr>
          <p:cNvSpPr>
            <a:spLocks noGrp="1"/>
          </p:cNvSpPr>
          <p:nvPr/>
        </p:nvSpPr>
        <p:spPr>
          <a:xfrm>
            <a:off x="515938" y="1982082"/>
            <a:ext cx="11160125" cy="3846317"/>
          </a:xfrm>
          <a:prstGeom prst="rect">
            <a:avLst/>
          </a:prstGeom>
        </p:spPr>
        <p:txBody>
          <a:bodyPr/>
          <a:lstStyle>
            <a:lvl1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None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21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43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648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64000" indent="-216000" algn="l" defTabSz="914355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lang="de-DE" sz="1600" b="0" i="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0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9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1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47C864DD-CBF2-4E65-86F1-9DE2E85DF828}"/>
              </a:ext>
            </a:extLst>
          </p:cNvPr>
          <p:cNvSpPr>
            <a:spLocks noGrp="1"/>
          </p:cNvSpPr>
          <p:nvPr/>
        </p:nvSpPr>
        <p:spPr>
          <a:xfrm>
            <a:off x="515938" y="1483200"/>
            <a:ext cx="11160000" cy="343274"/>
          </a:xfrm>
          <a:prstGeom prst="rect">
            <a:avLst/>
          </a:prstGeom>
        </p:spPr>
        <p:txBody>
          <a:bodyPr/>
          <a:lstStyle>
            <a:lvl1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de-DE" sz="2800" b="0" kern="1200" smtClean="0">
                <a:solidFill>
                  <a:schemeClr val="tx2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  <a:lvl2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None/>
              <a:defRPr lang="de-DE" sz="1600" b="0" i="0" kern="12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21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lang="de-DE" sz="1600" b="0" i="0" kern="12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43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lang="de-DE" sz="1600" b="0" i="0" kern="12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648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lang="de-DE"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64000" indent="-216000" algn="l" defTabSz="914355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lang="de-DE" sz="1600" b="0" i="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0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9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1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/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50905C34-9514-1803-FFBF-364FBE9EE9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34370" y="1718108"/>
            <a:ext cx="2011710" cy="2712886"/>
          </a:xfrm>
          <a:prstGeom prst="rect">
            <a:avLst/>
          </a:prstGeom>
          <a:noFill/>
          <a:effectLst>
            <a:softEdge rad="127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1040864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7986A79-904A-BAA3-A631-FEF71ED235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ean Green </a:t>
            </a:r>
            <a:r>
              <a:rPr lang="de-DE" dirty="0" err="1"/>
              <a:t>Digitial</a:t>
            </a:r>
            <a:r>
              <a:rPr lang="de-DE" dirty="0"/>
              <a:t> und Additive Manufacturing?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D6E16EE-4A4F-4A4F-41DE-25B0EDC3E00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Was gibt es auf Fachmessen / Wonach werden wir gefragt?</a:t>
            </a:r>
          </a:p>
          <a:p>
            <a:endParaRPr lang="de-DE" dirty="0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8D069004-51E0-F6A4-FE83-72F0145C2074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15942" y="1876900"/>
            <a:ext cx="11160125" cy="4345200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8" name="Flowchart: Data 3">
            <a:extLst>
              <a:ext uri="{FF2B5EF4-FFF2-40B4-BE49-F238E27FC236}">
                <a16:creationId xmlns:a16="http://schemas.microsoft.com/office/drawing/2014/main" id="{A9A9B76E-CEA8-297F-F5D6-4ACC11DE49BD}"/>
              </a:ext>
            </a:extLst>
          </p:cNvPr>
          <p:cNvSpPr/>
          <p:nvPr/>
        </p:nvSpPr>
        <p:spPr>
          <a:xfrm>
            <a:off x="515939" y="2842142"/>
            <a:ext cx="3759200" cy="451293"/>
          </a:xfrm>
          <a:prstGeom prst="flowChartInputOutput">
            <a:avLst/>
          </a:prstGeom>
          <a:gradFill flip="none" rotWithShape="1">
            <a:gsLst>
              <a:gs pos="2100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5">
            <a:extLst>
              <a:ext uri="{FF2B5EF4-FFF2-40B4-BE49-F238E27FC236}">
                <a16:creationId xmlns:a16="http://schemas.microsoft.com/office/drawing/2014/main" id="{8123A9A6-7EBA-99C3-98D6-3DDA6C876ED6}"/>
              </a:ext>
            </a:extLst>
          </p:cNvPr>
          <p:cNvSpPr/>
          <p:nvPr/>
        </p:nvSpPr>
        <p:spPr bwMode="auto">
          <a:xfrm>
            <a:off x="515941" y="1933868"/>
            <a:ext cx="3759199" cy="908276"/>
          </a:xfrm>
          <a:prstGeom prst="rect">
            <a:avLst/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 sz="2400"/>
          </a:p>
        </p:txBody>
      </p:sp>
      <p:sp>
        <p:nvSpPr>
          <p:cNvPr id="10" name="Rectangle 7">
            <a:extLst>
              <a:ext uri="{FF2B5EF4-FFF2-40B4-BE49-F238E27FC236}">
                <a16:creationId xmlns:a16="http://schemas.microsoft.com/office/drawing/2014/main" id="{A1BF24A6-6F72-BD35-B1ED-5D4DCD39C276}"/>
              </a:ext>
            </a:extLst>
          </p:cNvPr>
          <p:cNvSpPr/>
          <p:nvPr/>
        </p:nvSpPr>
        <p:spPr bwMode="auto">
          <a:xfrm>
            <a:off x="515941" y="3281088"/>
            <a:ext cx="3759199" cy="908276"/>
          </a:xfrm>
          <a:prstGeom prst="rect">
            <a:avLst/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 sz="2400" dirty="0"/>
          </a:p>
        </p:txBody>
      </p:sp>
      <p:sp>
        <p:nvSpPr>
          <p:cNvPr id="11" name="Flowchart: Data 9">
            <a:extLst>
              <a:ext uri="{FF2B5EF4-FFF2-40B4-BE49-F238E27FC236}">
                <a16:creationId xmlns:a16="http://schemas.microsoft.com/office/drawing/2014/main" id="{BFB7517D-E1A5-D578-0B86-D4F50E6E8BE0}"/>
              </a:ext>
            </a:extLst>
          </p:cNvPr>
          <p:cNvSpPr/>
          <p:nvPr/>
        </p:nvSpPr>
        <p:spPr>
          <a:xfrm>
            <a:off x="515938" y="4189363"/>
            <a:ext cx="3759200" cy="451293"/>
          </a:xfrm>
          <a:prstGeom prst="flowChartInputOutpu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61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12" name="Rectangle 10">
            <a:extLst>
              <a:ext uri="{FF2B5EF4-FFF2-40B4-BE49-F238E27FC236}">
                <a16:creationId xmlns:a16="http://schemas.microsoft.com/office/drawing/2014/main" id="{E2938311-B3A6-0E31-4F1F-4161A7B6252B}"/>
              </a:ext>
            </a:extLst>
          </p:cNvPr>
          <p:cNvSpPr/>
          <p:nvPr/>
        </p:nvSpPr>
        <p:spPr bwMode="auto">
          <a:xfrm>
            <a:off x="515941" y="4623264"/>
            <a:ext cx="3759199" cy="908276"/>
          </a:xfrm>
          <a:prstGeom prst="rect">
            <a:avLst/>
          </a:prstGeom>
          <a:solidFill>
            <a:schemeClr val="accent3"/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 sz="2400"/>
          </a:p>
        </p:txBody>
      </p:sp>
      <p:sp>
        <p:nvSpPr>
          <p:cNvPr id="13" name="TextBox 13">
            <a:extLst>
              <a:ext uri="{FF2B5EF4-FFF2-40B4-BE49-F238E27FC236}">
                <a16:creationId xmlns:a16="http://schemas.microsoft.com/office/drawing/2014/main" id="{C2A60504-0D98-6C56-471E-24BA65C6F880}"/>
              </a:ext>
            </a:extLst>
          </p:cNvPr>
          <p:cNvSpPr txBox="1"/>
          <p:nvPr/>
        </p:nvSpPr>
        <p:spPr>
          <a:xfrm>
            <a:off x="1539402" y="2216642"/>
            <a:ext cx="2349266" cy="614142"/>
          </a:xfrm>
          <a:prstGeom prst="rect">
            <a:avLst/>
          </a:prstGeom>
          <a:noFill/>
          <a:ln>
            <a:noFill/>
          </a:ln>
        </p:spPr>
        <p:txBody>
          <a:bodyPr wrap="square" lIns="0" rIns="0" rtlCol="0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200" b="0" i="0" dirty="0" err="1">
                <a:solidFill>
                  <a:schemeClr val="bg1"/>
                </a:solidFill>
                <a:effectLst/>
                <a:latin typeface="Questrial" panose="020B0604020202020204" pitchFamily="2" charset="0"/>
              </a:rPr>
              <a:t>Effizienter</a:t>
            </a:r>
            <a:r>
              <a:rPr lang="en-US" sz="1200" b="0" i="0" dirty="0">
                <a:solidFill>
                  <a:schemeClr val="bg1"/>
                </a:solidFill>
                <a:effectLst/>
                <a:latin typeface="Questrial" panose="020B0604020202020204" pitchFamily="2" charset="0"/>
              </a:rPr>
              <a:t>, </a:t>
            </a:r>
            <a:r>
              <a:rPr lang="en-US" sz="1200" b="0" i="0" dirty="0" err="1">
                <a:solidFill>
                  <a:schemeClr val="bg1"/>
                </a:solidFill>
                <a:effectLst/>
                <a:latin typeface="Questrial" panose="020B0604020202020204" pitchFamily="2" charset="0"/>
              </a:rPr>
              <a:t>verschwendungsfreier</a:t>
            </a:r>
            <a:r>
              <a:rPr lang="en-US" sz="1200" b="0" i="0" dirty="0">
                <a:solidFill>
                  <a:schemeClr val="bg1"/>
                </a:solidFill>
                <a:effectLst/>
                <a:latin typeface="Questrial" panose="020B0604020202020204" pitchFamily="2" charset="0"/>
              </a:rPr>
              <a:t> </a:t>
            </a:r>
            <a:r>
              <a:rPr lang="en-US" sz="1200" b="0" i="0" dirty="0" err="1">
                <a:solidFill>
                  <a:schemeClr val="bg1"/>
                </a:solidFill>
                <a:effectLst/>
                <a:latin typeface="Questrial" panose="020B0604020202020204" pitchFamily="2" charset="0"/>
              </a:rPr>
              <a:t>Ressourceneinsatz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4" name="TextBox 14">
            <a:extLst>
              <a:ext uri="{FF2B5EF4-FFF2-40B4-BE49-F238E27FC236}">
                <a16:creationId xmlns:a16="http://schemas.microsoft.com/office/drawing/2014/main" id="{B5EC8433-64A9-FA17-8A40-6DF2892BE450}"/>
              </a:ext>
            </a:extLst>
          </p:cNvPr>
          <p:cNvSpPr txBox="1"/>
          <p:nvPr/>
        </p:nvSpPr>
        <p:spPr>
          <a:xfrm>
            <a:off x="1539401" y="3688810"/>
            <a:ext cx="2843930" cy="337721"/>
          </a:xfrm>
          <a:prstGeom prst="rect">
            <a:avLst/>
          </a:prstGeom>
          <a:noFill/>
          <a:ln>
            <a:noFill/>
          </a:ln>
        </p:spPr>
        <p:txBody>
          <a:bodyPr wrap="square" lIns="0" rIns="0" rtlCol="0" anchor="ctr">
            <a:spAutoFit/>
          </a:bodyPr>
          <a:lstStyle>
            <a:defPPr>
              <a:defRPr lang="de-DE"/>
            </a:defPPr>
            <a:lvl1pPr>
              <a:lnSpc>
                <a:spcPct val="150000"/>
              </a:lnSpc>
              <a:defRPr sz="1200" b="0" i="0">
                <a:solidFill>
                  <a:schemeClr val="bg1"/>
                </a:solidFill>
                <a:effectLst/>
                <a:latin typeface="Questrial" panose="020B0604020202020204" pitchFamily="2" charset="0"/>
              </a:defRPr>
            </a:lvl1pPr>
          </a:lstStyle>
          <a:p>
            <a:r>
              <a:rPr lang="de-DE" dirty="0"/>
              <a:t>Produktion ohne Umwelteinflüsse</a:t>
            </a:r>
            <a:endParaRPr lang="en-US" dirty="0"/>
          </a:p>
        </p:txBody>
      </p:sp>
      <p:sp>
        <p:nvSpPr>
          <p:cNvPr id="15" name="TextBox 15">
            <a:extLst>
              <a:ext uri="{FF2B5EF4-FFF2-40B4-BE49-F238E27FC236}">
                <a16:creationId xmlns:a16="http://schemas.microsoft.com/office/drawing/2014/main" id="{5E810D22-F237-E6BC-5E5F-302B28C564D4}"/>
              </a:ext>
            </a:extLst>
          </p:cNvPr>
          <p:cNvSpPr txBox="1"/>
          <p:nvPr/>
        </p:nvSpPr>
        <p:spPr>
          <a:xfrm>
            <a:off x="1539400" y="4972451"/>
            <a:ext cx="2215403" cy="337721"/>
          </a:xfrm>
          <a:prstGeom prst="rect">
            <a:avLst/>
          </a:prstGeom>
          <a:noFill/>
          <a:ln>
            <a:noFill/>
          </a:ln>
        </p:spPr>
        <p:txBody>
          <a:bodyPr wrap="square" lIns="0" rIns="0" rtlCol="0" anchor="ctr">
            <a:spAutoFit/>
          </a:bodyPr>
          <a:lstStyle>
            <a:defPPr>
              <a:defRPr lang="de-DE"/>
            </a:defPPr>
            <a:lvl1pPr>
              <a:lnSpc>
                <a:spcPct val="150000"/>
              </a:lnSpc>
              <a:defRPr sz="1200" b="0" i="0">
                <a:solidFill>
                  <a:schemeClr val="bg1"/>
                </a:solidFill>
                <a:effectLst/>
                <a:latin typeface="Questrial" panose="020B0604020202020204" pitchFamily="2" charset="0"/>
              </a:defRPr>
            </a:lvl1pPr>
          </a:lstStyle>
          <a:p>
            <a:r>
              <a:rPr lang="de-DE" dirty="0"/>
              <a:t>Vernetzung und Transparenz</a:t>
            </a:r>
            <a:endParaRPr lang="en-US" dirty="0"/>
          </a:p>
        </p:txBody>
      </p:sp>
      <p:sp>
        <p:nvSpPr>
          <p:cNvPr id="16" name="Flowchart: Process 17">
            <a:extLst>
              <a:ext uri="{FF2B5EF4-FFF2-40B4-BE49-F238E27FC236}">
                <a16:creationId xmlns:a16="http://schemas.microsoft.com/office/drawing/2014/main" id="{CC8D5BE6-B491-E96F-4E92-B85251DDDCEC}"/>
              </a:ext>
            </a:extLst>
          </p:cNvPr>
          <p:cNvSpPr/>
          <p:nvPr/>
        </p:nvSpPr>
        <p:spPr bwMode="auto">
          <a:xfrm>
            <a:off x="4783139" y="1928787"/>
            <a:ext cx="101600" cy="908275"/>
          </a:xfrm>
          <a:prstGeom prst="flowChartProcess">
            <a:avLst/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 sz="2400"/>
          </a:p>
        </p:txBody>
      </p:sp>
      <p:sp>
        <p:nvSpPr>
          <p:cNvPr id="17" name="Flowchart: Process 18">
            <a:extLst>
              <a:ext uri="{FF2B5EF4-FFF2-40B4-BE49-F238E27FC236}">
                <a16:creationId xmlns:a16="http://schemas.microsoft.com/office/drawing/2014/main" id="{228BC3F8-5597-C24F-AD42-553495F10EAB}"/>
              </a:ext>
            </a:extLst>
          </p:cNvPr>
          <p:cNvSpPr/>
          <p:nvPr/>
        </p:nvSpPr>
        <p:spPr bwMode="auto">
          <a:xfrm>
            <a:off x="4783139" y="3278563"/>
            <a:ext cx="101600" cy="908275"/>
          </a:xfrm>
          <a:prstGeom prst="flowChartProcess">
            <a:avLst/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 sz="2400"/>
          </a:p>
        </p:txBody>
      </p:sp>
      <p:sp>
        <p:nvSpPr>
          <p:cNvPr id="18" name="Flowchart: Process 19">
            <a:extLst>
              <a:ext uri="{FF2B5EF4-FFF2-40B4-BE49-F238E27FC236}">
                <a16:creationId xmlns:a16="http://schemas.microsoft.com/office/drawing/2014/main" id="{F853DB40-FEBD-5C18-55FA-187C7E6CF799}"/>
              </a:ext>
            </a:extLst>
          </p:cNvPr>
          <p:cNvSpPr/>
          <p:nvPr/>
        </p:nvSpPr>
        <p:spPr bwMode="auto">
          <a:xfrm>
            <a:off x="4783139" y="4623262"/>
            <a:ext cx="101600" cy="908275"/>
          </a:xfrm>
          <a:prstGeom prst="flowChartProcess">
            <a:avLst/>
          </a:prstGeom>
          <a:solidFill>
            <a:schemeClr val="accent3"/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 sz="2400"/>
          </a:p>
        </p:txBody>
      </p:sp>
      <p:sp>
        <p:nvSpPr>
          <p:cNvPr id="19" name="Flowchart: Process 20">
            <a:extLst>
              <a:ext uri="{FF2B5EF4-FFF2-40B4-BE49-F238E27FC236}">
                <a16:creationId xmlns:a16="http://schemas.microsoft.com/office/drawing/2014/main" id="{094D1DBF-E53B-ED83-9606-53773ABA325E}"/>
              </a:ext>
            </a:extLst>
          </p:cNvPr>
          <p:cNvSpPr/>
          <p:nvPr/>
        </p:nvSpPr>
        <p:spPr bwMode="auto">
          <a:xfrm flipH="1">
            <a:off x="1369381" y="1969988"/>
            <a:ext cx="60959" cy="836036"/>
          </a:xfrm>
          <a:prstGeom prst="flowChartProcess">
            <a:avLst/>
          </a:pr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 sz="2400"/>
          </a:p>
        </p:txBody>
      </p:sp>
      <p:sp>
        <p:nvSpPr>
          <p:cNvPr id="20" name="Flowchart: Process 21">
            <a:extLst>
              <a:ext uri="{FF2B5EF4-FFF2-40B4-BE49-F238E27FC236}">
                <a16:creationId xmlns:a16="http://schemas.microsoft.com/office/drawing/2014/main" id="{C7F353F1-A266-019D-CC02-D137392CF755}"/>
              </a:ext>
            </a:extLst>
          </p:cNvPr>
          <p:cNvSpPr/>
          <p:nvPr/>
        </p:nvSpPr>
        <p:spPr bwMode="auto">
          <a:xfrm flipH="1">
            <a:off x="1369381" y="3317208"/>
            <a:ext cx="60959" cy="836036"/>
          </a:xfrm>
          <a:prstGeom prst="flowChartProcess">
            <a:avLst/>
          </a:pr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 sz="2400"/>
          </a:p>
        </p:txBody>
      </p:sp>
      <p:sp>
        <p:nvSpPr>
          <p:cNvPr id="21" name="Flowchart: Process 22">
            <a:extLst>
              <a:ext uri="{FF2B5EF4-FFF2-40B4-BE49-F238E27FC236}">
                <a16:creationId xmlns:a16="http://schemas.microsoft.com/office/drawing/2014/main" id="{0B0A4314-4E41-7658-58AA-C3EBD374F364}"/>
              </a:ext>
            </a:extLst>
          </p:cNvPr>
          <p:cNvSpPr/>
          <p:nvPr/>
        </p:nvSpPr>
        <p:spPr bwMode="auto">
          <a:xfrm flipH="1">
            <a:off x="1369381" y="4659384"/>
            <a:ext cx="60959" cy="836036"/>
          </a:xfrm>
          <a:prstGeom prst="flowChartProcess">
            <a:avLst/>
          </a:pr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 sz="2400"/>
          </a:p>
        </p:txBody>
      </p:sp>
      <p:sp>
        <p:nvSpPr>
          <p:cNvPr id="25" name="TextBox 28">
            <a:extLst>
              <a:ext uri="{FF2B5EF4-FFF2-40B4-BE49-F238E27FC236}">
                <a16:creationId xmlns:a16="http://schemas.microsoft.com/office/drawing/2014/main" id="{DD8FD5DB-580B-C9F3-2435-FA361E4EAA4E}"/>
              </a:ext>
            </a:extLst>
          </p:cNvPr>
          <p:cNvSpPr txBox="1"/>
          <p:nvPr/>
        </p:nvSpPr>
        <p:spPr>
          <a:xfrm>
            <a:off x="1539402" y="1880425"/>
            <a:ext cx="2034541" cy="415819"/>
          </a:xfrm>
          <a:prstGeom prst="rect">
            <a:avLst/>
          </a:prstGeom>
          <a:noFill/>
          <a:ln>
            <a:noFill/>
          </a:ln>
        </p:spPr>
        <p:txBody>
          <a:bodyPr wrap="square" lIns="0" rIns="0" rtlCol="0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600" b="1" dirty="0">
                <a:solidFill>
                  <a:schemeClr val="bg1"/>
                </a:solidFill>
              </a:rPr>
              <a:t>LEAN</a:t>
            </a:r>
          </a:p>
        </p:txBody>
      </p:sp>
      <p:sp>
        <p:nvSpPr>
          <p:cNvPr id="26" name="TextBox 29">
            <a:extLst>
              <a:ext uri="{FF2B5EF4-FFF2-40B4-BE49-F238E27FC236}">
                <a16:creationId xmlns:a16="http://schemas.microsoft.com/office/drawing/2014/main" id="{39AC86B2-1698-CA64-6871-861BFB65AE9E}"/>
              </a:ext>
            </a:extLst>
          </p:cNvPr>
          <p:cNvSpPr txBox="1"/>
          <p:nvPr/>
        </p:nvSpPr>
        <p:spPr>
          <a:xfrm>
            <a:off x="1539401" y="3254134"/>
            <a:ext cx="2034541" cy="415819"/>
          </a:xfrm>
          <a:prstGeom prst="rect">
            <a:avLst/>
          </a:prstGeom>
          <a:noFill/>
          <a:ln>
            <a:noFill/>
          </a:ln>
        </p:spPr>
        <p:txBody>
          <a:bodyPr wrap="square" lIns="0" rIns="0" rtlCol="0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600" b="1" dirty="0">
                <a:solidFill>
                  <a:schemeClr val="bg1"/>
                </a:solidFill>
              </a:rPr>
              <a:t>GREEN</a:t>
            </a:r>
          </a:p>
        </p:txBody>
      </p:sp>
      <p:sp>
        <p:nvSpPr>
          <p:cNvPr id="27" name="TextBox 30">
            <a:extLst>
              <a:ext uri="{FF2B5EF4-FFF2-40B4-BE49-F238E27FC236}">
                <a16:creationId xmlns:a16="http://schemas.microsoft.com/office/drawing/2014/main" id="{687D3642-5CEF-9020-9F1C-E9B30A278602}"/>
              </a:ext>
            </a:extLst>
          </p:cNvPr>
          <p:cNvSpPr txBox="1"/>
          <p:nvPr/>
        </p:nvSpPr>
        <p:spPr>
          <a:xfrm>
            <a:off x="1539400" y="4577851"/>
            <a:ext cx="2034541" cy="415819"/>
          </a:xfrm>
          <a:prstGeom prst="rect">
            <a:avLst/>
          </a:prstGeom>
          <a:noFill/>
          <a:ln>
            <a:noFill/>
          </a:ln>
        </p:spPr>
        <p:txBody>
          <a:bodyPr wrap="square" lIns="0" rIns="0" rtlCol="0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600" b="1" dirty="0">
                <a:solidFill>
                  <a:schemeClr val="bg1"/>
                </a:solidFill>
              </a:rPr>
              <a:t>DIGITAL</a:t>
            </a:r>
          </a:p>
        </p:txBody>
      </p:sp>
      <p:sp>
        <p:nvSpPr>
          <p:cNvPr id="29" name="Freeform 27">
            <a:extLst>
              <a:ext uri="{FF2B5EF4-FFF2-40B4-BE49-F238E27FC236}">
                <a16:creationId xmlns:a16="http://schemas.microsoft.com/office/drawing/2014/main" id="{85B60B67-4287-5AE0-0584-B1C62F2DC7AE}"/>
              </a:ext>
            </a:extLst>
          </p:cNvPr>
          <p:cNvSpPr>
            <a:spLocks noEditPoints="1"/>
          </p:cNvSpPr>
          <p:nvPr/>
        </p:nvSpPr>
        <p:spPr bwMode="auto">
          <a:xfrm>
            <a:off x="686968" y="4915788"/>
            <a:ext cx="543880" cy="323224"/>
          </a:xfrm>
          <a:custGeom>
            <a:avLst/>
            <a:gdLst>
              <a:gd name="T0" fmla="*/ 1585 w 3789"/>
              <a:gd name="T1" fmla="*/ 738 h 2251"/>
              <a:gd name="T2" fmla="*/ 1405 w 3789"/>
              <a:gd name="T3" fmla="*/ 1067 h 2251"/>
              <a:gd name="T4" fmla="*/ 1509 w 3789"/>
              <a:gd name="T5" fmla="*/ 1435 h 2251"/>
              <a:gd name="T6" fmla="*/ 1837 w 3789"/>
              <a:gd name="T7" fmla="*/ 1616 h 2251"/>
              <a:gd name="T8" fmla="*/ 2204 w 3789"/>
              <a:gd name="T9" fmla="*/ 1511 h 2251"/>
              <a:gd name="T10" fmla="*/ 2385 w 3789"/>
              <a:gd name="T11" fmla="*/ 1184 h 2251"/>
              <a:gd name="T12" fmla="*/ 2280 w 3789"/>
              <a:gd name="T13" fmla="*/ 815 h 2251"/>
              <a:gd name="T14" fmla="*/ 1952 w 3789"/>
              <a:gd name="T15" fmla="*/ 635 h 2251"/>
              <a:gd name="T16" fmla="*/ 2240 w 3789"/>
              <a:gd name="T17" fmla="*/ 393 h 2251"/>
              <a:gd name="T18" fmla="*/ 2592 w 3789"/>
              <a:gd name="T19" fmla="*/ 718 h 2251"/>
              <a:gd name="T20" fmla="*/ 2699 w 3789"/>
              <a:gd name="T21" fmla="*/ 1201 h 2251"/>
              <a:gd name="T22" fmla="*/ 2496 w 3789"/>
              <a:gd name="T23" fmla="*/ 1663 h 2251"/>
              <a:gd name="T24" fmla="*/ 2065 w 3789"/>
              <a:gd name="T25" fmla="*/ 1916 h 2251"/>
              <a:gd name="T26" fmla="*/ 2361 w 3789"/>
              <a:gd name="T27" fmla="*/ 1870 h 2251"/>
              <a:gd name="T28" fmla="*/ 2863 w 3789"/>
              <a:gd name="T29" fmla="*/ 1645 h 2251"/>
              <a:gd name="T30" fmla="*/ 3213 w 3789"/>
              <a:gd name="T31" fmla="*/ 1368 h 2251"/>
              <a:gd name="T32" fmla="*/ 3400 w 3789"/>
              <a:gd name="T33" fmla="*/ 1164 h 2251"/>
              <a:gd name="T34" fmla="*/ 3412 w 3789"/>
              <a:gd name="T35" fmla="*/ 1103 h 2251"/>
              <a:gd name="T36" fmla="*/ 3251 w 3789"/>
              <a:gd name="T37" fmla="*/ 915 h 2251"/>
              <a:gd name="T38" fmla="*/ 2921 w 3789"/>
              <a:gd name="T39" fmla="*/ 640 h 2251"/>
              <a:gd name="T40" fmla="*/ 2433 w 3789"/>
              <a:gd name="T41" fmla="*/ 399 h 2251"/>
              <a:gd name="T42" fmla="*/ 1874 w 3789"/>
              <a:gd name="T43" fmla="*/ 315 h 2251"/>
              <a:gd name="T44" fmla="*/ 1274 w 3789"/>
              <a:gd name="T45" fmla="*/ 432 h 2251"/>
              <a:gd name="T46" fmla="*/ 817 w 3789"/>
              <a:gd name="T47" fmla="*/ 684 h 2251"/>
              <a:gd name="T48" fmla="*/ 513 w 3789"/>
              <a:gd name="T49" fmla="*/ 953 h 2251"/>
              <a:gd name="T50" fmla="*/ 375 w 3789"/>
              <a:gd name="T51" fmla="*/ 1114 h 2251"/>
              <a:gd name="T52" fmla="*/ 413 w 3789"/>
              <a:gd name="T53" fmla="*/ 1184 h 2251"/>
              <a:gd name="T54" fmla="*/ 621 w 3789"/>
              <a:gd name="T55" fmla="*/ 1406 h 2251"/>
              <a:gd name="T56" fmla="*/ 991 w 3789"/>
              <a:gd name="T57" fmla="*/ 1683 h 2251"/>
              <a:gd name="T58" fmla="*/ 1511 w 3789"/>
              <a:gd name="T59" fmla="*/ 1892 h 2251"/>
              <a:gd name="T60" fmla="*/ 1653 w 3789"/>
              <a:gd name="T61" fmla="*/ 1898 h 2251"/>
              <a:gd name="T62" fmla="*/ 1248 w 3789"/>
              <a:gd name="T63" fmla="*/ 1608 h 2251"/>
              <a:gd name="T64" fmla="*/ 1086 w 3789"/>
              <a:gd name="T65" fmla="*/ 1125 h 2251"/>
              <a:gd name="T66" fmla="*/ 1248 w 3789"/>
              <a:gd name="T67" fmla="*/ 643 h 2251"/>
              <a:gd name="T68" fmla="*/ 1653 w 3789"/>
              <a:gd name="T69" fmla="*/ 352 h 2251"/>
              <a:gd name="T70" fmla="*/ 2197 w 3789"/>
              <a:gd name="T71" fmla="*/ 22 h 2251"/>
              <a:gd name="T72" fmla="*/ 2806 w 3789"/>
              <a:gd name="T73" fmla="*/ 214 h 2251"/>
              <a:gd name="T74" fmla="*/ 3270 w 3789"/>
              <a:gd name="T75" fmla="*/ 510 h 2251"/>
              <a:gd name="T76" fmla="*/ 3583 w 3789"/>
              <a:gd name="T77" fmla="*/ 808 h 2251"/>
              <a:gd name="T78" fmla="*/ 3737 w 3789"/>
              <a:gd name="T79" fmla="*/ 998 h 2251"/>
              <a:gd name="T80" fmla="*/ 3789 w 3789"/>
              <a:gd name="T81" fmla="*/ 1123 h 2251"/>
              <a:gd name="T82" fmla="*/ 3737 w 3789"/>
              <a:gd name="T83" fmla="*/ 1254 h 2251"/>
              <a:gd name="T84" fmla="*/ 3586 w 3789"/>
              <a:gd name="T85" fmla="*/ 1447 h 2251"/>
              <a:gd name="T86" fmla="*/ 3277 w 3789"/>
              <a:gd name="T87" fmla="*/ 1749 h 2251"/>
              <a:gd name="T88" fmla="*/ 2814 w 3789"/>
              <a:gd name="T89" fmla="*/ 2046 h 2251"/>
              <a:gd name="T90" fmla="*/ 2202 w 3789"/>
              <a:gd name="T91" fmla="*/ 2232 h 2251"/>
              <a:gd name="T92" fmla="*/ 1477 w 3789"/>
              <a:gd name="T93" fmla="*/ 2203 h 2251"/>
              <a:gd name="T94" fmla="*/ 870 w 3789"/>
              <a:gd name="T95" fmla="*/ 1977 h 2251"/>
              <a:gd name="T96" fmla="*/ 427 w 3789"/>
              <a:gd name="T97" fmla="*/ 1665 h 2251"/>
              <a:gd name="T98" fmla="*/ 148 w 3789"/>
              <a:gd name="T99" fmla="*/ 1379 h 2251"/>
              <a:gd name="T100" fmla="*/ 38 w 3789"/>
              <a:gd name="T101" fmla="*/ 1233 h 2251"/>
              <a:gd name="T102" fmla="*/ 2 w 3789"/>
              <a:gd name="T103" fmla="*/ 1101 h 2251"/>
              <a:gd name="T104" fmla="*/ 64 w 3789"/>
              <a:gd name="T105" fmla="*/ 981 h 2251"/>
              <a:gd name="T106" fmla="*/ 243 w 3789"/>
              <a:gd name="T107" fmla="*/ 770 h 2251"/>
              <a:gd name="T108" fmla="*/ 580 w 3789"/>
              <a:gd name="T109" fmla="*/ 465 h 2251"/>
              <a:gd name="T110" fmla="*/ 1066 w 3789"/>
              <a:gd name="T111" fmla="*/ 177 h 2251"/>
              <a:gd name="T112" fmla="*/ 1691 w 3789"/>
              <a:gd name="T113" fmla="*/ 11 h 22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789" h="2251">
                <a:moveTo>
                  <a:pt x="1894" y="631"/>
                </a:moveTo>
                <a:lnTo>
                  <a:pt x="1837" y="635"/>
                </a:lnTo>
                <a:lnTo>
                  <a:pt x="1780" y="644"/>
                </a:lnTo>
                <a:lnTo>
                  <a:pt x="1728" y="660"/>
                </a:lnTo>
                <a:lnTo>
                  <a:pt x="1677" y="681"/>
                </a:lnTo>
                <a:lnTo>
                  <a:pt x="1630" y="707"/>
                </a:lnTo>
                <a:lnTo>
                  <a:pt x="1585" y="738"/>
                </a:lnTo>
                <a:lnTo>
                  <a:pt x="1546" y="775"/>
                </a:lnTo>
                <a:lnTo>
                  <a:pt x="1509" y="816"/>
                </a:lnTo>
                <a:lnTo>
                  <a:pt x="1478" y="860"/>
                </a:lnTo>
                <a:lnTo>
                  <a:pt x="1451" y="907"/>
                </a:lnTo>
                <a:lnTo>
                  <a:pt x="1431" y="958"/>
                </a:lnTo>
                <a:lnTo>
                  <a:pt x="1414" y="1011"/>
                </a:lnTo>
                <a:lnTo>
                  <a:pt x="1405" y="1067"/>
                </a:lnTo>
                <a:lnTo>
                  <a:pt x="1402" y="1125"/>
                </a:lnTo>
                <a:lnTo>
                  <a:pt x="1405" y="1184"/>
                </a:lnTo>
                <a:lnTo>
                  <a:pt x="1414" y="1239"/>
                </a:lnTo>
                <a:lnTo>
                  <a:pt x="1429" y="1293"/>
                </a:lnTo>
                <a:lnTo>
                  <a:pt x="1451" y="1344"/>
                </a:lnTo>
                <a:lnTo>
                  <a:pt x="1478" y="1391"/>
                </a:lnTo>
                <a:lnTo>
                  <a:pt x="1509" y="1435"/>
                </a:lnTo>
                <a:lnTo>
                  <a:pt x="1545" y="1475"/>
                </a:lnTo>
                <a:lnTo>
                  <a:pt x="1585" y="1511"/>
                </a:lnTo>
                <a:lnTo>
                  <a:pt x="1629" y="1542"/>
                </a:lnTo>
                <a:lnTo>
                  <a:pt x="1677" y="1569"/>
                </a:lnTo>
                <a:lnTo>
                  <a:pt x="1728" y="1591"/>
                </a:lnTo>
                <a:lnTo>
                  <a:pt x="1780" y="1606"/>
                </a:lnTo>
                <a:lnTo>
                  <a:pt x="1837" y="1616"/>
                </a:lnTo>
                <a:lnTo>
                  <a:pt x="1894" y="1620"/>
                </a:lnTo>
                <a:lnTo>
                  <a:pt x="1953" y="1616"/>
                </a:lnTo>
                <a:lnTo>
                  <a:pt x="2008" y="1606"/>
                </a:lnTo>
                <a:lnTo>
                  <a:pt x="2062" y="1591"/>
                </a:lnTo>
                <a:lnTo>
                  <a:pt x="2113" y="1569"/>
                </a:lnTo>
                <a:lnTo>
                  <a:pt x="2160" y="1542"/>
                </a:lnTo>
                <a:lnTo>
                  <a:pt x="2204" y="1511"/>
                </a:lnTo>
                <a:lnTo>
                  <a:pt x="2244" y="1475"/>
                </a:lnTo>
                <a:lnTo>
                  <a:pt x="2280" y="1435"/>
                </a:lnTo>
                <a:lnTo>
                  <a:pt x="2311" y="1391"/>
                </a:lnTo>
                <a:lnTo>
                  <a:pt x="2337" y="1343"/>
                </a:lnTo>
                <a:lnTo>
                  <a:pt x="2359" y="1292"/>
                </a:lnTo>
                <a:lnTo>
                  <a:pt x="2374" y="1239"/>
                </a:lnTo>
                <a:lnTo>
                  <a:pt x="2385" y="1184"/>
                </a:lnTo>
                <a:lnTo>
                  <a:pt x="2387" y="1125"/>
                </a:lnTo>
                <a:lnTo>
                  <a:pt x="2385" y="1067"/>
                </a:lnTo>
                <a:lnTo>
                  <a:pt x="2374" y="1011"/>
                </a:lnTo>
                <a:lnTo>
                  <a:pt x="2359" y="958"/>
                </a:lnTo>
                <a:lnTo>
                  <a:pt x="2337" y="907"/>
                </a:lnTo>
                <a:lnTo>
                  <a:pt x="2311" y="858"/>
                </a:lnTo>
                <a:lnTo>
                  <a:pt x="2280" y="815"/>
                </a:lnTo>
                <a:lnTo>
                  <a:pt x="2244" y="774"/>
                </a:lnTo>
                <a:lnTo>
                  <a:pt x="2204" y="738"/>
                </a:lnTo>
                <a:lnTo>
                  <a:pt x="2160" y="707"/>
                </a:lnTo>
                <a:lnTo>
                  <a:pt x="2112" y="681"/>
                </a:lnTo>
                <a:lnTo>
                  <a:pt x="2061" y="660"/>
                </a:lnTo>
                <a:lnTo>
                  <a:pt x="2008" y="644"/>
                </a:lnTo>
                <a:lnTo>
                  <a:pt x="1952" y="635"/>
                </a:lnTo>
                <a:lnTo>
                  <a:pt x="1894" y="631"/>
                </a:lnTo>
                <a:close/>
                <a:moveTo>
                  <a:pt x="1894" y="315"/>
                </a:moveTo>
                <a:lnTo>
                  <a:pt x="1968" y="319"/>
                </a:lnTo>
                <a:lnTo>
                  <a:pt x="2039" y="329"/>
                </a:lnTo>
                <a:lnTo>
                  <a:pt x="2108" y="345"/>
                </a:lnTo>
                <a:lnTo>
                  <a:pt x="2175" y="367"/>
                </a:lnTo>
                <a:lnTo>
                  <a:pt x="2240" y="393"/>
                </a:lnTo>
                <a:lnTo>
                  <a:pt x="2302" y="427"/>
                </a:lnTo>
                <a:lnTo>
                  <a:pt x="2359" y="464"/>
                </a:lnTo>
                <a:lnTo>
                  <a:pt x="2415" y="507"/>
                </a:lnTo>
                <a:lnTo>
                  <a:pt x="2465" y="554"/>
                </a:lnTo>
                <a:lnTo>
                  <a:pt x="2511" y="605"/>
                </a:lnTo>
                <a:lnTo>
                  <a:pt x="2554" y="659"/>
                </a:lnTo>
                <a:lnTo>
                  <a:pt x="2592" y="718"/>
                </a:lnTo>
                <a:lnTo>
                  <a:pt x="2624" y="779"/>
                </a:lnTo>
                <a:lnTo>
                  <a:pt x="2652" y="843"/>
                </a:lnTo>
                <a:lnTo>
                  <a:pt x="2674" y="910"/>
                </a:lnTo>
                <a:lnTo>
                  <a:pt x="2690" y="981"/>
                </a:lnTo>
                <a:lnTo>
                  <a:pt x="2699" y="1052"/>
                </a:lnTo>
                <a:lnTo>
                  <a:pt x="2702" y="1125"/>
                </a:lnTo>
                <a:lnTo>
                  <a:pt x="2699" y="1201"/>
                </a:lnTo>
                <a:lnTo>
                  <a:pt x="2689" y="1276"/>
                </a:lnTo>
                <a:lnTo>
                  <a:pt x="2671" y="1349"/>
                </a:lnTo>
                <a:lnTo>
                  <a:pt x="2647" y="1418"/>
                </a:lnTo>
                <a:lnTo>
                  <a:pt x="2617" y="1485"/>
                </a:lnTo>
                <a:lnTo>
                  <a:pt x="2583" y="1548"/>
                </a:lnTo>
                <a:lnTo>
                  <a:pt x="2542" y="1608"/>
                </a:lnTo>
                <a:lnTo>
                  <a:pt x="2496" y="1663"/>
                </a:lnTo>
                <a:lnTo>
                  <a:pt x="2446" y="1715"/>
                </a:lnTo>
                <a:lnTo>
                  <a:pt x="2392" y="1763"/>
                </a:lnTo>
                <a:lnTo>
                  <a:pt x="2333" y="1804"/>
                </a:lnTo>
                <a:lnTo>
                  <a:pt x="2271" y="1841"/>
                </a:lnTo>
                <a:lnTo>
                  <a:pt x="2205" y="1872"/>
                </a:lnTo>
                <a:lnTo>
                  <a:pt x="2136" y="1898"/>
                </a:lnTo>
                <a:lnTo>
                  <a:pt x="2065" y="1916"/>
                </a:lnTo>
                <a:lnTo>
                  <a:pt x="1991" y="1929"/>
                </a:lnTo>
                <a:lnTo>
                  <a:pt x="1915" y="1935"/>
                </a:lnTo>
                <a:lnTo>
                  <a:pt x="2011" y="1931"/>
                </a:lnTo>
                <a:lnTo>
                  <a:pt x="2102" y="1922"/>
                </a:lnTo>
                <a:lnTo>
                  <a:pt x="2191" y="1909"/>
                </a:lnTo>
                <a:lnTo>
                  <a:pt x="2278" y="1892"/>
                </a:lnTo>
                <a:lnTo>
                  <a:pt x="2361" y="1870"/>
                </a:lnTo>
                <a:lnTo>
                  <a:pt x="2442" y="1846"/>
                </a:lnTo>
                <a:lnTo>
                  <a:pt x="2519" y="1818"/>
                </a:lnTo>
                <a:lnTo>
                  <a:pt x="2594" y="1788"/>
                </a:lnTo>
                <a:lnTo>
                  <a:pt x="2666" y="1755"/>
                </a:lnTo>
                <a:lnTo>
                  <a:pt x="2735" y="1720"/>
                </a:lnTo>
                <a:lnTo>
                  <a:pt x="2800" y="1683"/>
                </a:lnTo>
                <a:lnTo>
                  <a:pt x="2863" y="1645"/>
                </a:lnTo>
                <a:lnTo>
                  <a:pt x="2923" y="1606"/>
                </a:lnTo>
                <a:lnTo>
                  <a:pt x="2980" y="1565"/>
                </a:lnTo>
                <a:lnTo>
                  <a:pt x="3033" y="1525"/>
                </a:lnTo>
                <a:lnTo>
                  <a:pt x="3082" y="1486"/>
                </a:lnTo>
                <a:lnTo>
                  <a:pt x="3129" y="1445"/>
                </a:lnTo>
                <a:lnTo>
                  <a:pt x="3173" y="1406"/>
                </a:lnTo>
                <a:lnTo>
                  <a:pt x="3213" y="1368"/>
                </a:lnTo>
                <a:lnTo>
                  <a:pt x="3250" y="1332"/>
                </a:lnTo>
                <a:lnTo>
                  <a:pt x="3284" y="1298"/>
                </a:lnTo>
                <a:lnTo>
                  <a:pt x="3313" y="1266"/>
                </a:lnTo>
                <a:lnTo>
                  <a:pt x="3341" y="1236"/>
                </a:lnTo>
                <a:lnTo>
                  <a:pt x="3364" y="1208"/>
                </a:lnTo>
                <a:lnTo>
                  <a:pt x="3384" y="1184"/>
                </a:lnTo>
                <a:lnTo>
                  <a:pt x="3400" y="1164"/>
                </a:lnTo>
                <a:lnTo>
                  <a:pt x="3412" y="1148"/>
                </a:lnTo>
                <a:lnTo>
                  <a:pt x="3422" y="1135"/>
                </a:lnTo>
                <a:lnTo>
                  <a:pt x="3427" y="1127"/>
                </a:lnTo>
                <a:lnTo>
                  <a:pt x="3430" y="1125"/>
                </a:lnTo>
                <a:lnTo>
                  <a:pt x="3427" y="1123"/>
                </a:lnTo>
                <a:lnTo>
                  <a:pt x="3422" y="1114"/>
                </a:lnTo>
                <a:lnTo>
                  <a:pt x="3412" y="1103"/>
                </a:lnTo>
                <a:lnTo>
                  <a:pt x="3400" y="1086"/>
                </a:lnTo>
                <a:lnTo>
                  <a:pt x="3384" y="1065"/>
                </a:lnTo>
                <a:lnTo>
                  <a:pt x="3364" y="1041"/>
                </a:lnTo>
                <a:lnTo>
                  <a:pt x="3341" y="1013"/>
                </a:lnTo>
                <a:lnTo>
                  <a:pt x="3315" y="983"/>
                </a:lnTo>
                <a:lnTo>
                  <a:pt x="3285" y="951"/>
                </a:lnTo>
                <a:lnTo>
                  <a:pt x="3251" y="915"/>
                </a:lnTo>
                <a:lnTo>
                  <a:pt x="3213" y="878"/>
                </a:lnTo>
                <a:lnTo>
                  <a:pt x="3173" y="840"/>
                </a:lnTo>
                <a:lnTo>
                  <a:pt x="3129" y="801"/>
                </a:lnTo>
                <a:lnTo>
                  <a:pt x="3082" y="760"/>
                </a:lnTo>
                <a:lnTo>
                  <a:pt x="3033" y="720"/>
                </a:lnTo>
                <a:lnTo>
                  <a:pt x="2979" y="680"/>
                </a:lnTo>
                <a:lnTo>
                  <a:pt x="2921" y="640"/>
                </a:lnTo>
                <a:lnTo>
                  <a:pt x="2861" y="600"/>
                </a:lnTo>
                <a:lnTo>
                  <a:pt x="2798" y="562"/>
                </a:lnTo>
                <a:lnTo>
                  <a:pt x="2731" y="525"/>
                </a:lnTo>
                <a:lnTo>
                  <a:pt x="2662" y="490"/>
                </a:lnTo>
                <a:lnTo>
                  <a:pt x="2588" y="458"/>
                </a:lnTo>
                <a:lnTo>
                  <a:pt x="2512" y="427"/>
                </a:lnTo>
                <a:lnTo>
                  <a:pt x="2433" y="399"/>
                </a:lnTo>
                <a:lnTo>
                  <a:pt x="2351" y="375"/>
                </a:lnTo>
                <a:lnTo>
                  <a:pt x="2266" y="355"/>
                </a:lnTo>
                <a:lnTo>
                  <a:pt x="2178" y="338"/>
                </a:lnTo>
                <a:lnTo>
                  <a:pt x="2087" y="325"/>
                </a:lnTo>
                <a:lnTo>
                  <a:pt x="1992" y="319"/>
                </a:lnTo>
                <a:lnTo>
                  <a:pt x="1894" y="315"/>
                </a:lnTo>
                <a:close/>
                <a:moveTo>
                  <a:pt x="1874" y="315"/>
                </a:moveTo>
                <a:lnTo>
                  <a:pt x="1779" y="320"/>
                </a:lnTo>
                <a:lnTo>
                  <a:pt x="1688" y="328"/>
                </a:lnTo>
                <a:lnTo>
                  <a:pt x="1600" y="342"/>
                </a:lnTo>
                <a:lnTo>
                  <a:pt x="1515" y="359"/>
                </a:lnTo>
                <a:lnTo>
                  <a:pt x="1432" y="380"/>
                </a:lnTo>
                <a:lnTo>
                  <a:pt x="1351" y="404"/>
                </a:lnTo>
                <a:lnTo>
                  <a:pt x="1274" y="432"/>
                </a:lnTo>
                <a:lnTo>
                  <a:pt x="1200" y="463"/>
                </a:lnTo>
                <a:lnTo>
                  <a:pt x="1129" y="495"/>
                </a:lnTo>
                <a:lnTo>
                  <a:pt x="1060" y="531"/>
                </a:lnTo>
                <a:lnTo>
                  <a:pt x="994" y="568"/>
                </a:lnTo>
                <a:lnTo>
                  <a:pt x="932" y="606"/>
                </a:lnTo>
                <a:lnTo>
                  <a:pt x="874" y="645"/>
                </a:lnTo>
                <a:lnTo>
                  <a:pt x="817" y="684"/>
                </a:lnTo>
                <a:lnTo>
                  <a:pt x="764" y="725"/>
                </a:lnTo>
                <a:lnTo>
                  <a:pt x="715" y="765"/>
                </a:lnTo>
                <a:lnTo>
                  <a:pt x="668" y="804"/>
                </a:lnTo>
                <a:lnTo>
                  <a:pt x="624" y="843"/>
                </a:lnTo>
                <a:lnTo>
                  <a:pt x="584" y="881"/>
                </a:lnTo>
                <a:lnTo>
                  <a:pt x="547" y="918"/>
                </a:lnTo>
                <a:lnTo>
                  <a:pt x="513" y="953"/>
                </a:lnTo>
                <a:lnTo>
                  <a:pt x="483" y="985"/>
                </a:lnTo>
                <a:lnTo>
                  <a:pt x="457" y="1015"/>
                </a:lnTo>
                <a:lnTo>
                  <a:pt x="434" y="1042"/>
                </a:lnTo>
                <a:lnTo>
                  <a:pt x="414" y="1066"/>
                </a:lnTo>
                <a:lnTo>
                  <a:pt x="397" y="1087"/>
                </a:lnTo>
                <a:lnTo>
                  <a:pt x="384" y="1103"/>
                </a:lnTo>
                <a:lnTo>
                  <a:pt x="375" y="1114"/>
                </a:lnTo>
                <a:lnTo>
                  <a:pt x="371" y="1123"/>
                </a:lnTo>
                <a:lnTo>
                  <a:pt x="368" y="1125"/>
                </a:lnTo>
                <a:lnTo>
                  <a:pt x="371" y="1127"/>
                </a:lnTo>
                <a:lnTo>
                  <a:pt x="375" y="1135"/>
                </a:lnTo>
                <a:lnTo>
                  <a:pt x="384" y="1148"/>
                </a:lnTo>
                <a:lnTo>
                  <a:pt x="397" y="1164"/>
                </a:lnTo>
                <a:lnTo>
                  <a:pt x="413" y="1184"/>
                </a:lnTo>
                <a:lnTo>
                  <a:pt x="433" y="1208"/>
                </a:lnTo>
                <a:lnTo>
                  <a:pt x="456" y="1236"/>
                </a:lnTo>
                <a:lnTo>
                  <a:pt x="482" y="1266"/>
                </a:lnTo>
                <a:lnTo>
                  <a:pt x="512" y="1298"/>
                </a:lnTo>
                <a:lnTo>
                  <a:pt x="544" y="1332"/>
                </a:lnTo>
                <a:lnTo>
                  <a:pt x="581" y="1368"/>
                </a:lnTo>
                <a:lnTo>
                  <a:pt x="621" y="1406"/>
                </a:lnTo>
                <a:lnTo>
                  <a:pt x="664" y="1445"/>
                </a:lnTo>
                <a:lnTo>
                  <a:pt x="710" y="1486"/>
                </a:lnTo>
                <a:lnTo>
                  <a:pt x="761" y="1525"/>
                </a:lnTo>
                <a:lnTo>
                  <a:pt x="813" y="1565"/>
                </a:lnTo>
                <a:lnTo>
                  <a:pt x="869" y="1606"/>
                </a:lnTo>
                <a:lnTo>
                  <a:pt x="929" y="1645"/>
                </a:lnTo>
                <a:lnTo>
                  <a:pt x="991" y="1683"/>
                </a:lnTo>
                <a:lnTo>
                  <a:pt x="1055" y="1720"/>
                </a:lnTo>
                <a:lnTo>
                  <a:pt x="1124" y="1755"/>
                </a:lnTo>
                <a:lnTo>
                  <a:pt x="1196" y="1788"/>
                </a:lnTo>
                <a:lnTo>
                  <a:pt x="1271" y="1818"/>
                </a:lnTo>
                <a:lnTo>
                  <a:pt x="1348" y="1846"/>
                </a:lnTo>
                <a:lnTo>
                  <a:pt x="1428" y="1870"/>
                </a:lnTo>
                <a:lnTo>
                  <a:pt x="1511" y="1892"/>
                </a:lnTo>
                <a:lnTo>
                  <a:pt x="1597" y="1909"/>
                </a:lnTo>
                <a:lnTo>
                  <a:pt x="1687" y="1922"/>
                </a:lnTo>
                <a:lnTo>
                  <a:pt x="1779" y="1931"/>
                </a:lnTo>
                <a:lnTo>
                  <a:pt x="1874" y="1935"/>
                </a:lnTo>
                <a:lnTo>
                  <a:pt x="1798" y="1929"/>
                </a:lnTo>
                <a:lnTo>
                  <a:pt x="1724" y="1916"/>
                </a:lnTo>
                <a:lnTo>
                  <a:pt x="1653" y="1898"/>
                </a:lnTo>
                <a:lnTo>
                  <a:pt x="1584" y="1872"/>
                </a:lnTo>
                <a:lnTo>
                  <a:pt x="1518" y="1841"/>
                </a:lnTo>
                <a:lnTo>
                  <a:pt x="1456" y="1804"/>
                </a:lnTo>
                <a:lnTo>
                  <a:pt x="1397" y="1762"/>
                </a:lnTo>
                <a:lnTo>
                  <a:pt x="1343" y="1715"/>
                </a:lnTo>
                <a:lnTo>
                  <a:pt x="1292" y="1663"/>
                </a:lnTo>
                <a:lnTo>
                  <a:pt x="1248" y="1608"/>
                </a:lnTo>
                <a:lnTo>
                  <a:pt x="1206" y="1548"/>
                </a:lnTo>
                <a:lnTo>
                  <a:pt x="1172" y="1485"/>
                </a:lnTo>
                <a:lnTo>
                  <a:pt x="1142" y="1418"/>
                </a:lnTo>
                <a:lnTo>
                  <a:pt x="1119" y="1349"/>
                </a:lnTo>
                <a:lnTo>
                  <a:pt x="1101" y="1276"/>
                </a:lnTo>
                <a:lnTo>
                  <a:pt x="1090" y="1201"/>
                </a:lnTo>
                <a:lnTo>
                  <a:pt x="1086" y="1125"/>
                </a:lnTo>
                <a:lnTo>
                  <a:pt x="1090" y="1049"/>
                </a:lnTo>
                <a:lnTo>
                  <a:pt x="1101" y="974"/>
                </a:lnTo>
                <a:lnTo>
                  <a:pt x="1119" y="902"/>
                </a:lnTo>
                <a:lnTo>
                  <a:pt x="1142" y="832"/>
                </a:lnTo>
                <a:lnTo>
                  <a:pt x="1172" y="766"/>
                </a:lnTo>
                <a:lnTo>
                  <a:pt x="1206" y="703"/>
                </a:lnTo>
                <a:lnTo>
                  <a:pt x="1248" y="643"/>
                </a:lnTo>
                <a:lnTo>
                  <a:pt x="1292" y="586"/>
                </a:lnTo>
                <a:lnTo>
                  <a:pt x="1343" y="535"/>
                </a:lnTo>
                <a:lnTo>
                  <a:pt x="1397" y="488"/>
                </a:lnTo>
                <a:lnTo>
                  <a:pt x="1456" y="445"/>
                </a:lnTo>
                <a:lnTo>
                  <a:pt x="1518" y="408"/>
                </a:lnTo>
                <a:lnTo>
                  <a:pt x="1584" y="377"/>
                </a:lnTo>
                <a:lnTo>
                  <a:pt x="1653" y="352"/>
                </a:lnTo>
                <a:lnTo>
                  <a:pt x="1724" y="334"/>
                </a:lnTo>
                <a:lnTo>
                  <a:pt x="1798" y="321"/>
                </a:lnTo>
                <a:lnTo>
                  <a:pt x="1874" y="315"/>
                </a:lnTo>
                <a:close/>
                <a:moveTo>
                  <a:pt x="1894" y="0"/>
                </a:moveTo>
                <a:lnTo>
                  <a:pt x="1998" y="2"/>
                </a:lnTo>
                <a:lnTo>
                  <a:pt x="2099" y="11"/>
                </a:lnTo>
                <a:lnTo>
                  <a:pt x="2197" y="22"/>
                </a:lnTo>
                <a:lnTo>
                  <a:pt x="2293" y="39"/>
                </a:lnTo>
                <a:lnTo>
                  <a:pt x="2386" y="60"/>
                </a:lnTo>
                <a:lnTo>
                  <a:pt x="2476" y="84"/>
                </a:lnTo>
                <a:lnTo>
                  <a:pt x="2562" y="112"/>
                </a:lnTo>
                <a:lnTo>
                  <a:pt x="2646" y="143"/>
                </a:lnTo>
                <a:lnTo>
                  <a:pt x="2728" y="177"/>
                </a:lnTo>
                <a:lnTo>
                  <a:pt x="2806" y="214"/>
                </a:lnTo>
                <a:lnTo>
                  <a:pt x="2881" y="252"/>
                </a:lnTo>
                <a:lnTo>
                  <a:pt x="2953" y="292"/>
                </a:lnTo>
                <a:lnTo>
                  <a:pt x="3022" y="334"/>
                </a:lnTo>
                <a:lnTo>
                  <a:pt x="3089" y="376"/>
                </a:lnTo>
                <a:lnTo>
                  <a:pt x="3152" y="420"/>
                </a:lnTo>
                <a:lnTo>
                  <a:pt x="3212" y="465"/>
                </a:lnTo>
                <a:lnTo>
                  <a:pt x="3270" y="510"/>
                </a:lnTo>
                <a:lnTo>
                  <a:pt x="3324" y="555"/>
                </a:lnTo>
                <a:lnTo>
                  <a:pt x="3376" y="600"/>
                </a:lnTo>
                <a:lnTo>
                  <a:pt x="3423" y="644"/>
                </a:lnTo>
                <a:lnTo>
                  <a:pt x="3468" y="686"/>
                </a:lnTo>
                <a:lnTo>
                  <a:pt x="3509" y="729"/>
                </a:lnTo>
                <a:lnTo>
                  <a:pt x="3548" y="770"/>
                </a:lnTo>
                <a:lnTo>
                  <a:pt x="3583" y="808"/>
                </a:lnTo>
                <a:lnTo>
                  <a:pt x="3615" y="843"/>
                </a:lnTo>
                <a:lnTo>
                  <a:pt x="3644" y="877"/>
                </a:lnTo>
                <a:lnTo>
                  <a:pt x="3669" y="908"/>
                </a:lnTo>
                <a:lnTo>
                  <a:pt x="3691" y="936"/>
                </a:lnTo>
                <a:lnTo>
                  <a:pt x="3709" y="961"/>
                </a:lnTo>
                <a:lnTo>
                  <a:pt x="3725" y="981"/>
                </a:lnTo>
                <a:lnTo>
                  <a:pt x="3737" y="998"/>
                </a:lnTo>
                <a:lnTo>
                  <a:pt x="3745" y="1009"/>
                </a:lnTo>
                <a:lnTo>
                  <a:pt x="3751" y="1018"/>
                </a:lnTo>
                <a:lnTo>
                  <a:pt x="3752" y="1020"/>
                </a:lnTo>
                <a:lnTo>
                  <a:pt x="3768" y="1043"/>
                </a:lnTo>
                <a:lnTo>
                  <a:pt x="3780" y="1067"/>
                </a:lnTo>
                <a:lnTo>
                  <a:pt x="3786" y="1094"/>
                </a:lnTo>
                <a:lnTo>
                  <a:pt x="3789" y="1123"/>
                </a:lnTo>
                <a:lnTo>
                  <a:pt x="3786" y="1150"/>
                </a:lnTo>
                <a:lnTo>
                  <a:pt x="3780" y="1178"/>
                </a:lnTo>
                <a:lnTo>
                  <a:pt x="3768" y="1206"/>
                </a:lnTo>
                <a:lnTo>
                  <a:pt x="3752" y="1231"/>
                </a:lnTo>
                <a:lnTo>
                  <a:pt x="3751" y="1233"/>
                </a:lnTo>
                <a:lnTo>
                  <a:pt x="3746" y="1241"/>
                </a:lnTo>
                <a:lnTo>
                  <a:pt x="3737" y="1254"/>
                </a:lnTo>
                <a:lnTo>
                  <a:pt x="3725" y="1270"/>
                </a:lnTo>
                <a:lnTo>
                  <a:pt x="3711" y="1292"/>
                </a:lnTo>
                <a:lnTo>
                  <a:pt x="3692" y="1316"/>
                </a:lnTo>
                <a:lnTo>
                  <a:pt x="3670" y="1345"/>
                </a:lnTo>
                <a:lnTo>
                  <a:pt x="3646" y="1376"/>
                </a:lnTo>
                <a:lnTo>
                  <a:pt x="3617" y="1411"/>
                </a:lnTo>
                <a:lnTo>
                  <a:pt x="3586" y="1447"/>
                </a:lnTo>
                <a:lnTo>
                  <a:pt x="3552" y="1486"/>
                </a:lnTo>
                <a:lnTo>
                  <a:pt x="3514" y="1527"/>
                </a:lnTo>
                <a:lnTo>
                  <a:pt x="3473" y="1570"/>
                </a:lnTo>
                <a:lnTo>
                  <a:pt x="3429" y="1613"/>
                </a:lnTo>
                <a:lnTo>
                  <a:pt x="3381" y="1658"/>
                </a:lnTo>
                <a:lnTo>
                  <a:pt x="3331" y="1703"/>
                </a:lnTo>
                <a:lnTo>
                  <a:pt x="3277" y="1749"/>
                </a:lnTo>
                <a:lnTo>
                  <a:pt x="3220" y="1794"/>
                </a:lnTo>
                <a:lnTo>
                  <a:pt x="3160" y="1839"/>
                </a:lnTo>
                <a:lnTo>
                  <a:pt x="3097" y="1883"/>
                </a:lnTo>
                <a:lnTo>
                  <a:pt x="3030" y="1926"/>
                </a:lnTo>
                <a:lnTo>
                  <a:pt x="2961" y="1968"/>
                </a:lnTo>
                <a:lnTo>
                  <a:pt x="2889" y="2008"/>
                </a:lnTo>
                <a:lnTo>
                  <a:pt x="2814" y="2046"/>
                </a:lnTo>
                <a:lnTo>
                  <a:pt x="2736" y="2083"/>
                </a:lnTo>
                <a:lnTo>
                  <a:pt x="2654" y="2116"/>
                </a:lnTo>
                <a:lnTo>
                  <a:pt x="2569" y="2147"/>
                </a:lnTo>
                <a:lnTo>
                  <a:pt x="2481" y="2173"/>
                </a:lnTo>
                <a:lnTo>
                  <a:pt x="2392" y="2198"/>
                </a:lnTo>
                <a:lnTo>
                  <a:pt x="2298" y="2217"/>
                </a:lnTo>
                <a:lnTo>
                  <a:pt x="2202" y="2232"/>
                </a:lnTo>
                <a:lnTo>
                  <a:pt x="2102" y="2244"/>
                </a:lnTo>
                <a:lnTo>
                  <a:pt x="2000" y="2249"/>
                </a:lnTo>
                <a:lnTo>
                  <a:pt x="1894" y="2251"/>
                </a:lnTo>
                <a:lnTo>
                  <a:pt x="1785" y="2246"/>
                </a:lnTo>
                <a:lnTo>
                  <a:pt x="1679" y="2237"/>
                </a:lnTo>
                <a:lnTo>
                  <a:pt x="1577" y="2222"/>
                </a:lnTo>
                <a:lnTo>
                  <a:pt x="1477" y="2203"/>
                </a:lnTo>
                <a:lnTo>
                  <a:pt x="1380" y="2180"/>
                </a:lnTo>
                <a:lnTo>
                  <a:pt x="1287" y="2154"/>
                </a:lnTo>
                <a:lnTo>
                  <a:pt x="1197" y="2124"/>
                </a:lnTo>
                <a:lnTo>
                  <a:pt x="1111" y="2091"/>
                </a:lnTo>
                <a:lnTo>
                  <a:pt x="1028" y="2056"/>
                </a:lnTo>
                <a:lnTo>
                  <a:pt x="947" y="2018"/>
                </a:lnTo>
                <a:lnTo>
                  <a:pt x="870" y="1977"/>
                </a:lnTo>
                <a:lnTo>
                  <a:pt x="798" y="1935"/>
                </a:lnTo>
                <a:lnTo>
                  <a:pt x="727" y="1892"/>
                </a:lnTo>
                <a:lnTo>
                  <a:pt x="661" y="1847"/>
                </a:lnTo>
                <a:lnTo>
                  <a:pt x="597" y="1802"/>
                </a:lnTo>
                <a:lnTo>
                  <a:pt x="536" y="1756"/>
                </a:lnTo>
                <a:lnTo>
                  <a:pt x="480" y="1710"/>
                </a:lnTo>
                <a:lnTo>
                  <a:pt x="427" y="1665"/>
                </a:lnTo>
                <a:lnTo>
                  <a:pt x="376" y="1620"/>
                </a:lnTo>
                <a:lnTo>
                  <a:pt x="330" y="1575"/>
                </a:lnTo>
                <a:lnTo>
                  <a:pt x="287" y="1532"/>
                </a:lnTo>
                <a:lnTo>
                  <a:pt x="247" y="1490"/>
                </a:lnTo>
                <a:lnTo>
                  <a:pt x="211" y="1451"/>
                </a:lnTo>
                <a:lnTo>
                  <a:pt x="178" y="1413"/>
                </a:lnTo>
                <a:lnTo>
                  <a:pt x="148" y="1379"/>
                </a:lnTo>
                <a:lnTo>
                  <a:pt x="122" y="1346"/>
                </a:lnTo>
                <a:lnTo>
                  <a:pt x="100" y="1317"/>
                </a:lnTo>
                <a:lnTo>
                  <a:pt x="81" y="1292"/>
                </a:lnTo>
                <a:lnTo>
                  <a:pt x="64" y="1271"/>
                </a:lnTo>
                <a:lnTo>
                  <a:pt x="53" y="1254"/>
                </a:lnTo>
                <a:lnTo>
                  <a:pt x="44" y="1241"/>
                </a:lnTo>
                <a:lnTo>
                  <a:pt x="38" y="1233"/>
                </a:lnTo>
                <a:lnTo>
                  <a:pt x="37" y="1231"/>
                </a:lnTo>
                <a:lnTo>
                  <a:pt x="21" y="1208"/>
                </a:lnTo>
                <a:lnTo>
                  <a:pt x="9" y="1182"/>
                </a:lnTo>
                <a:lnTo>
                  <a:pt x="2" y="1156"/>
                </a:lnTo>
                <a:lnTo>
                  <a:pt x="0" y="1128"/>
                </a:lnTo>
                <a:lnTo>
                  <a:pt x="0" y="1128"/>
                </a:lnTo>
                <a:lnTo>
                  <a:pt x="2" y="1101"/>
                </a:lnTo>
                <a:lnTo>
                  <a:pt x="9" y="1072"/>
                </a:lnTo>
                <a:lnTo>
                  <a:pt x="21" y="1045"/>
                </a:lnTo>
                <a:lnTo>
                  <a:pt x="37" y="1020"/>
                </a:lnTo>
                <a:lnTo>
                  <a:pt x="38" y="1018"/>
                </a:lnTo>
                <a:lnTo>
                  <a:pt x="44" y="1009"/>
                </a:lnTo>
                <a:lnTo>
                  <a:pt x="52" y="998"/>
                </a:lnTo>
                <a:lnTo>
                  <a:pt x="64" y="981"/>
                </a:lnTo>
                <a:lnTo>
                  <a:pt x="79" y="961"/>
                </a:lnTo>
                <a:lnTo>
                  <a:pt x="99" y="936"/>
                </a:lnTo>
                <a:lnTo>
                  <a:pt x="121" y="908"/>
                </a:lnTo>
                <a:lnTo>
                  <a:pt x="146" y="877"/>
                </a:lnTo>
                <a:lnTo>
                  <a:pt x="176" y="843"/>
                </a:lnTo>
                <a:lnTo>
                  <a:pt x="207" y="808"/>
                </a:lnTo>
                <a:lnTo>
                  <a:pt x="243" y="770"/>
                </a:lnTo>
                <a:lnTo>
                  <a:pt x="282" y="729"/>
                </a:lnTo>
                <a:lnTo>
                  <a:pt x="323" y="686"/>
                </a:lnTo>
                <a:lnTo>
                  <a:pt x="368" y="644"/>
                </a:lnTo>
                <a:lnTo>
                  <a:pt x="417" y="600"/>
                </a:lnTo>
                <a:lnTo>
                  <a:pt x="468" y="555"/>
                </a:lnTo>
                <a:lnTo>
                  <a:pt x="523" y="510"/>
                </a:lnTo>
                <a:lnTo>
                  <a:pt x="580" y="465"/>
                </a:lnTo>
                <a:lnTo>
                  <a:pt x="640" y="420"/>
                </a:lnTo>
                <a:lnTo>
                  <a:pt x="703" y="376"/>
                </a:lnTo>
                <a:lnTo>
                  <a:pt x="770" y="334"/>
                </a:lnTo>
                <a:lnTo>
                  <a:pt x="839" y="292"/>
                </a:lnTo>
                <a:lnTo>
                  <a:pt x="912" y="252"/>
                </a:lnTo>
                <a:lnTo>
                  <a:pt x="987" y="214"/>
                </a:lnTo>
                <a:lnTo>
                  <a:pt x="1066" y="177"/>
                </a:lnTo>
                <a:lnTo>
                  <a:pt x="1146" y="143"/>
                </a:lnTo>
                <a:lnTo>
                  <a:pt x="1230" y="112"/>
                </a:lnTo>
                <a:lnTo>
                  <a:pt x="1317" y="84"/>
                </a:lnTo>
                <a:lnTo>
                  <a:pt x="1406" y="60"/>
                </a:lnTo>
                <a:lnTo>
                  <a:pt x="1498" y="39"/>
                </a:lnTo>
                <a:lnTo>
                  <a:pt x="1594" y="22"/>
                </a:lnTo>
                <a:lnTo>
                  <a:pt x="1691" y="11"/>
                </a:lnTo>
                <a:lnTo>
                  <a:pt x="1792" y="2"/>
                </a:lnTo>
                <a:lnTo>
                  <a:pt x="1894" y="0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33" name="Freeform 178">
            <a:extLst>
              <a:ext uri="{FF2B5EF4-FFF2-40B4-BE49-F238E27FC236}">
                <a16:creationId xmlns:a16="http://schemas.microsoft.com/office/drawing/2014/main" id="{6282A43C-652F-E2F1-C646-D0D0423D7A7C}"/>
              </a:ext>
            </a:extLst>
          </p:cNvPr>
          <p:cNvSpPr>
            <a:spLocks noEditPoints="1"/>
          </p:cNvSpPr>
          <p:nvPr/>
        </p:nvSpPr>
        <p:spPr bwMode="auto">
          <a:xfrm>
            <a:off x="674651" y="2201231"/>
            <a:ext cx="543956" cy="377945"/>
          </a:xfrm>
          <a:custGeom>
            <a:avLst/>
            <a:gdLst/>
            <a:ahLst/>
            <a:cxnLst>
              <a:cxn ang="0">
                <a:pos x="158" y="119"/>
              </a:cxn>
              <a:cxn ang="0">
                <a:pos x="0" y="119"/>
              </a:cxn>
              <a:cxn ang="0">
                <a:pos x="0" y="0"/>
              </a:cxn>
              <a:cxn ang="0">
                <a:pos x="9" y="0"/>
              </a:cxn>
              <a:cxn ang="0">
                <a:pos x="9" y="108"/>
              </a:cxn>
              <a:cxn ang="0">
                <a:pos x="158" y="108"/>
              </a:cxn>
              <a:cxn ang="0">
                <a:pos x="158" y="119"/>
              </a:cxn>
              <a:cxn ang="0">
                <a:pos x="50" y="99"/>
              </a:cxn>
              <a:cxn ang="0">
                <a:pos x="29" y="99"/>
              </a:cxn>
              <a:cxn ang="0">
                <a:pos x="29" y="60"/>
              </a:cxn>
              <a:cxn ang="0">
                <a:pos x="50" y="60"/>
              </a:cxn>
              <a:cxn ang="0">
                <a:pos x="50" y="99"/>
              </a:cxn>
              <a:cxn ang="0">
                <a:pos x="78" y="99"/>
              </a:cxn>
              <a:cxn ang="0">
                <a:pos x="59" y="99"/>
              </a:cxn>
              <a:cxn ang="0">
                <a:pos x="59" y="19"/>
              </a:cxn>
              <a:cxn ang="0">
                <a:pos x="78" y="19"/>
              </a:cxn>
              <a:cxn ang="0">
                <a:pos x="78" y="99"/>
              </a:cxn>
              <a:cxn ang="0">
                <a:pos x="109" y="99"/>
              </a:cxn>
              <a:cxn ang="0">
                <a:pos x="89" y="99"/>
              </a:cxn>
              <a:cxn ang="0">
                <a:pos x="89" y="39"/>
              </a:cxn>
              <a:cxn ang="0">
                <a:pos x="109" y="39"/>
              </a:cxn>
              <a:cxn ang="0">
                <a:pos x="109" y="99"/>
              </a:cxn>
              <a:cxn ang="0">
                <a:pos x="139" y="99"/>
              </a:cxn>
              <a:cxn ang="0">
                <a:pos x="119" y="99"/>
              </a:cxn>
              <a:cxn ang="0">
                <a:pos x="119" y="11"/>
              </a:cxn>
              <a:cxn ang="0">
                <a:pos x="139" y="11"/>
              </a:cxn>
              <a:cxn ang="0">
                <a:pos x="139" y="99"/>
              </a:cxn>
            </a:cxnLst>
            <a:rect l="0" t="0" r="r" b="b"/>
            <a:pathLst>
              <a:path w="158" h="119">
                <a:moveTo>
                  <a:pt x="158" y="119"/>
                </a:moveTo>
                <a:lnTo>
                  <a:pt x="0" y="119"/>
                </a:lnTo>
                <a:lnTo>
                  <a:pt x="0" y="0"/>
                </a:lnTo>
                <a:lnTo>
                  <a:pt x="9" y="0"/>
                </a:lnTo>
                <a:lnTo>
                  <a:pt x="9" y="108"/>
                </a:lnTo>
                <a:lnTo>
                  <a:pt x="158" y="108"/>
                </a:lnTo>
                <a:lnTo>
                  <a:pt x="158" y="119"/>
                </a:lnTo>
                <a:close/>
                <a:moveTo>
                  <a:pt x="50" y="99"/>
                </a:moveTo>
                <a:lnTo>
                  <a:pt x="29" y="99"/>
                </a:lnTo>
                <a:lnTo>
                  <a:pt x="29" y="60"/>
                </a:lnTo>
                <a:lnTo>
                  <a:pt x="50" y="60"/>
                </a:lnTo>
                <a:lnTo>
                  <a:pt x="50" y="99"/>
                </a:lnTo>
                <a:close/>
                <a:moveTo>
                  <a:pt x="78" y="99"/>
                </a:moveTo>
                <a:lnTo>
                  <a:pt x="59" y="99"/>
                </a:lnTo>
                <a:lnTo>
                  <a:pt x="59" y="19"/>
                </a:lnTo>
                <a:lnTo>
                  <a:pt x="78" y="19"/>
                </a:lnTo>
                <a:lnTo>
                  <a:pt x="78" y="99"/>
                </a:lnTo>
                <a:close/>
                <a:moveTo>
                  <a:pt x="109" y="99"/>
                </a:moveTo>
                <a:lnTo>
                  <a:pt x="89" y="99"/>
                </a:lnTo>
                <a:lnTo>
                  <a:pt x="89" y="39"/>
                </a:lnTo>
                <a:lnTo>
                  <a:pt x="109" y="39"/>
                </a:lnTo>
                <a:lnTo>
                  <a:pt x="109" y="99"/>
                </a:lnTo>
                <a:close/>
                <a:moveTo>
                  <a:pt x="139" y="99"/>
                </a:moveTo>
                <a:lnTo>
                  <a:pt x="119" y="99"/>
                </a:lnTo>
                <a:lnTo>
                  <a:pt x="119" y="11"/>
                </a:lnTo>
                <a:lnTo>
                  <a:pt x="139" y="11"/>
                </a:lnTo>
                <a:lnTo>
                  <a:pt x="139" y="9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anchor="b" anchorCtr="0" compatLnSpc="1">
            <a:prstTxWarp prst="textNoShape">
              <a:avLst/>
            </a:prstTxWarp>
          </a:bodyPr>
          <a:lstStyle/>
          <a:p>
            <a:endParaRPr lang="en-US" sz="2400" dirty="0"/>
          </a:p>
        </p:txBody>
      </p:sp>
      <p:grpSp>
        <p:nvGrpSpPr>
          <p:cNvPr id="34" name="Group 190">
            <a:extLst>
              <a:ext uri="{FF2B5EF4-FFF2-40B4-BE49-F238E27FC236}">
                <a16:creationId xmlns:a16="http://schemas.microsoft.com/office/drawing/2014/main" id="{3C4A26F4-400B-2433-5269-C4EE4BA7F26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26120" y="3487450"/>
            <a:ext cx="458244" cy="475032"/>
            <a:chOff x="4455" y="2078"/>
            <a:chExt cx="464" cy="481"/>
          </a:xfrm>
          <a:solidFill>
            <a:schemeClr val="bg1"/>
          </a:solidFill>
        </p:grpSpPr>
        <p:sp>
          <p:nvSpPr>
            <p:cNvPr id="35" name="Freeform 192">
              <a:extLst>
                <a:ext uri="{FF2B5EF4-FFF2-40B4-BE49-F238E27FC236}">
                  <a16:creationId xmlns:a16="http://schemas.microsoft.com/office/drawing/2014/main" id="{0982F0AB-42F8-EF49-C5E4-921E87E0CC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80" y="2078"/>
              <a:ext cx="170" cy="243"/>
            </a:xfrm>
            <a:custGeom>
              <a:avLst/>
              <a:gdLst>
                <a:gd name="T0" fmla="*/ 506 w 1192"/>
                <a:gd name="T1" fmla="*/ 301 h 1702"/>
                <a:gd name="T2" fmla="*/ 391 w 1192"/>
                <a:gd name="T3" fmla="*/ 365 h 1702"/>
                <a:gd name="T4" fmla="*/ 314 w 1192"/>
                <a:gd name="T5" fmla="*/ 470 h 1702"/>
                <a:gd name="T6" fmla="*/ 285 w 1192"/>
                <a:gd name="T7" fmla="*/ 603 h 1702"/>
                <a:gd name="T8" fmla="*/ 314 w 1192"/>
                <a:gd name="T9" fmla="*/ 735 h 1702"/>
                <a:gd name="T10" fmla="*/ 391 w 1192"/>
                <a:gd name="T11" fmla="*/ 839 h 1702"/>
                <a:gd name="T12" fmla="*/ 506 w 1192"/>
                <a:gd name="T13" fmla="*/ 903 h 1702"/>
                <a:gd name="T14" fmla="*/ 642 w 1192"/>
                <a:gd name="T15" fmla="*/ 913 h 1702"/>
                <a:gd name="T16" fmla="*/ 765 w 1192"/>
                <a:gd name="T17" fmla="*/ 866 h 1702"/>
                <a:gd name="T18" fmla="*/ 857 w 1192"/>
                <a:gd name="T19" fmla="*/ 773 h 1702"/>
                <a:gd name="T20" fmla="*/ 903 w 1192"/>
                <a:gd name="T21" fmla="*/ 649 h 1702"/>
                <a:gd name="T22" fmla="*/ 893 w 1192"/>
                <a:gd name="T23" fmla="*/ 511 h 1702"/>
                <a:gd name="T24" fmla="*/ 831 w 1192"/>
                <a:gd name="T25" fmla="*/ 396 h 1702"/>
                <a:gd name="T26" fmla="*/ 727 w 1192"/>
                <a:gd name="T27" fmla="*/ 317 h 1702"/>
                <a:gd name="T28" fmla="*/ 596 w 1192"/>
                <a:gd name="T29" fmla="*/ 288 h 1702"/>
                <a:gd name="T30" fmla="*/ 716 w 1192"/>
                <a:gd name="T31" fmla="*/ 12 h 1702"/>
                <a:gd name="T32" fmla="*/ 880 w 1192"/>
                <a:gd name="T33" fmla="*/ 72 h 1702"/>
                <a:gd name="T34" fmla="*/ 1017 w 1192"/>
                <a:gd name="T35" fmla="*/ 177 h 1702"/>
                <a:gd name="T36" fmla="*/ 1120 w 1192"/>
                <a:gd name="T37" fmla="*/ 315 h 1702"/>
                <a:gd name="T38" fmla="*/ 1180 w 1192"/>
                <a:gd name="T39" fmla="*/ 481 h 1702"/>
                <a:gd name="T40" fmla="*/ 1190 w 1192"/>
                <a:gd name="T41" fmla="*/ 654 h 1702"/>
                <a:gd name="T42" fmla="*/ 1161 w 1192"/>
                <a:gd name="T43" fmla="*/ 813 h 1702"/>
                <a:gd name="T44" fmla="*/ 1105 w 1192"/>
                <a:gd name="T45" fmla="*/ 972 h 1702"/>
                <a:gd name="T46" fmla="*/ 1028 w 1192"/>
                <a:gd name="T47" fmla="*/ 1126 h 1702"/>
                <a:gd name="T48" fmla="*/ 940 w 1192"/>
                <a:gd name="T49" fmla="*/ 1272 h 1702"/>
                <a:gd name="T50" fmla="*/ 848 w 1192"/>
                <a:gd name="T51" fmla="*/ 1404 h 1702"/>
                <a:gd name="T52" fmla="*/ 759 w 1192"/>
                <a:gd name="T53" fmla="*/ 1517 h 1702"/>
                <a:gd name="T54" fmla="*/ 684 w 1192"/>
                <a:gd name="T55" fmla="*/ 1607 h 1702"/>
                <a:gd name="T56" fmla="*/ 627 w 1192"/>
                <a:gd name="T57" fmla="*/ 1670 h 1702"/>
                <a:gd name="T58" fmla="*/ 598 w 1192"/>
                <a:gd name="T59" fmla="*/ 1700 h 1702"/>
                <a:gd name="T60" fmla="*/ 588 w 1192"/>
                <a:gd name="T61" fmla="*/ 1694 h 1702"/>
                <a:gd name="T62" fmla="*/ 549 w 1192"/>
                <a:gd name="T63" fmla="*/ 1655 h 1702"/>
                <a:gd name="T64" fmla="*/ 484 w 1192"/>
                <a:gd name="T65" fmla="*/ 1585 h 1702"/>
                <a:gd name="T66" fmla="*/ 403 w 1192"/>
                <a:gd name="T67" fmla="*/ 1489 h 1702"/>
                <a:gd name="T68" fmla="*/ 313 w 1192"/>
                <a:gd name="T69" fmla="*/ 1372 h 1702"/>
                <a:gd name="T70" fmla="*/ 221 w 1192"/>
                <a:gd name="T71" fmla="*/ 1237 h 1702"/>
                <a:gd name="T72" fmla="*/ 136 w 1192"/>
                <a:gd name="T73" fmla="*/ 1089 h 1702"/>
                <a:gd name="T74" fmla="*/ 66 w 1192"/>
                <a:gd name="T75" fmla="*/ 931 h 1702"/>
                <a:gd name="T76" fmla="*/ 17 w 1192"/>
                <a:gd name="T77" fmla="*/ 768 h 1702"/>
                <a:gd name="T78" fmla="*/ 0 w 1192"/>
                <a:gd name="T79" fmla="*/ 603 h 1702"/>
                <a:gd name="T80" fmla="*/ 26 w 1192"/>
                <a:gd name="T81" fmla="*/ 423 h 1702"/>
                <a:gd name="T82" fmla="*/ 101 w 1192"/>
                <a:gd name="T83" fmla="*/ 265 h 1702"/>
                <a:gd name="T84" fmla="*/ 217 w 1192"/>
                <a:gd name="T85" fmla="*/ 137 h 1702"/>
                <a:gd name="T86" fmla="*/ 363 w 1192"/>
                <a:gd name="T87" fmla="*/ 47 h 1702"/>
                <a:gd name="T88" fmla="*/ 535 w 1192"/>
                <a:gd name="T89" fmla="*/ 3 h 17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192" h="1702">
                  <a:moveTo>
                    <a:pt x="596" y="288"/>
                  </a:moveTo>
                  <a:lnTo>
                    <a:pt x="550" y="291"/>
                  </a:lnTo>
                  <a:lnTo>
                    <a:pt x="506" y="301"/>
                  </a:lnTo>
                  <a:lnTo>
                    <a:pt x="465" y="317"/>
                  </a:lnTo>
                  <a:lnTo>
                    <a:pt x="427" y="339"/>
                  </a:lnTo>
                  <a:lnTo>
                    <a:pt x="391" y="365"/>
                  </a:lnTo>
                  <a:lnTo>
                    <a:pt x="361" y="396"/>
                  </a:lnTo>
                  <a:lnTo>
                    <a:pt x="335" y="431"/>
                  </a:lnTo>
                  <a:lnTo>
                    <a:pt x="314" y="470"/>
                  </a:lnTo>
                  <a:lnTo>
                    <a:pt x="298" y="511"/>
                  </a:lnTo>
                  <a:lnTo>
                    <a:pt x="288" y="556"/>
                  </a:lnTo>
                  <a:lnTo>
                    <a:pt x="285" y="603"/>
                  </a:lnTo>
                  <a:lnTo>
                    <a:pt x="288" y="649"/>
                  </a:lnTo>
                  <a:lnTo>
                    <a:pt x="298" y="693"/>
                  </a:lnTo>
                  <a:lnTo>
                    <a:pt x="314" y="735"/>
                  </a:lnTo>
                  <a:lnTo>
                    <a:pt x="335" y="773"/>
                  </a:lnTo>
                  <a:lnTo>
                    <a:pt x="361" y="808"/>
                  </a:lnTo>
                  <a:lnTo>
                    <a:pt x="391" y="839"/>
                  </a:lnTo>
                  <a:lnTo>
                    <a:pt x="427" y="866"/>
                  </a:lnTo>
                  <a:lnTo>
                    <a:pt x="465" y="886"/>
                  </a:lnTo>
                  <a:lnTo>
                    <a:pt x="506" y="903"/>
                  </a:lnTo>
                  <a:lnTo>
                    <a:pt x="550" y="913"/>
                  </a:lnTo>
                  <a:lnTo>
                    <a:pt x="596" y="916"/>
                  </a:lnTo>
                  <a:lnTo>
                    <a:pt x="642" y="913"/>
                  </a:lnTo>
                  <a:lnTo>
                    <a:pt x="686" y="903"/>
                  </a:lnTo>
                  <a:lnTo>
                    <a:pt x="727" y="886"/>
                  </a:lnTo>
                  <a:lnTo>
                    <a:pt x="765" y="866"/>
                  </a:lnTo>
                  <a:lnTo>
                    <a:pt x="799" y="839"/>
                  </a:lnTo>
                  <a:lnTo>
                    <a:pt x="831" y="808"/>
                  </a:lnTo>
                  <a:lnTo>
                    <a:pt x="857" y="773"/>
                  </a:lnTo>
                  <a:lnTo>
                    <a:pt x="878" y="735"/>
                  </a:lnTo>
                  <a:lnTo>
                    <a:pt x="893" y="693"/>
                  </a:lnTo>
                  <a:lnTo>
                    <a:pt x="903" y="649"/>
                  </a:lnTo>
                  <a:lnTo>
                    <a:pt x="906" y="603"/>
                  </a:lnTo>
                  <a:lnTo>
                    <a:pt x="903" y="556"/>
                  </a:lnTo>
                  <a:lnTo>
                    <a:pt x="893" y="511"/>
                  </a:lnTo>
                  <a:lnTo>
                    <a:pt x="878" y="470"/>
                  </a:lnTo>
                  <a:lnTo>
                    <a:pt x="857" y="431"/>
                  </a:lnTo>
                  <a:lnTo>
                    <a:pt x="831" y="396"/>
                  </a:lnTo>
                  <a:lnTo>
                    <a:pt x="799" y="365"/>
                  </a:lnTo>
                  <a:lnTo>
                    <a:pt x="765" y="339"/>
                  </a:lnTo>
                  <a:lnTo>
                    <a:pt x="727" y="317"/>
                  </a:lnTo>
                  <a:lnTo>
                    <a:pt x="686" y="301"/>
                  </a:lnTo>
                  <a:lnTo>
                    <a:pt x="642" y="291"/>
                  </a:lnTo>
                  <a:lnTo>
                    <a:pt x="596" y="288"/>
                  </a:lnTo>
                  <a:close/>
                  <a:moveTo>
                    <a:pt x="596" y="0"/>
                  </a:moveTo>
                  <a:lnTo>
                    <a:pt x="657" y="3"/>
                  </a:lnTo>
                  <a:lnTo>
                    <a:pt x="716" y="12"/>
                  </a:lnTo>
                  <a:lnTo>
                    <a:pt x="773" y="27"/>
                  </a:lnTo>
                  <a:lnTo>
                    <a:pt x="829" y="47"/>
                  </a:lnTo>
                  <a:lnTo>
                    <a:pt x="880" y="72"/>
                  </a:lnTo>
                  <a:lnTo>
                    <a:pt x="929" y="102"/>
                  </a:lnTo>
                  <a:lnTo>
                    <a:pt x="975" y="137"/>
                  </a:lnTo>
                  <a:lnTo>
                    <a:pt x="1017" y="177"/>
                  </a:lnTo>
                  <a:lnTo>
                    <a:pt x="1056" y="219"/>
                  </a:lnTo>
                  <a:lnTo>
                    <a:pt x="1091" y="265"/>
                  </a:lnTo>
                  <a:lnTo>
                    <a:pt x="1120" y="315"/>
                  </a:lnTo>
                  <a:lnTo>
                    <a:pt x="1145" y="367"/>
                  </a:lnTo>
                  <a:lnTo>
                    <a:pt x="1165" y="423"/>
                  </a:lnTo>
                  <a:lnTo>
                    <a:pt x="1180" y="481"/>
                  </a:lnTo>
                  <a:lnTo>
                    <a:pt x="1189" y="541"/>
                  </a:lnTo>
                  <a:lnTo>
                    <a:pt x="1192" y="603"/>
                  </a:lnTo>
                  <a:lnTo>
                    <a:pt x="1190" y="654"/>
                  </a:lnTo>
                  <a:lnTo>
                    <a:pt x="1184" y="708"/>
                  </a:lnTo>
                  <a:lnTo>
                    <a:pt x="1174" y="760"/>
                  </a:lnTo>
                  <a:lnTo>
                    <a:pt x="1161" y="813"/>
                  </a:lnTo>
                  <a:lnTo>
                    <a:pt x="1145" y="867"/>
                  </a:lnTo>
                  <a:lnTo>
                    <a:pt x="1126" y="919"/>
                  </a:lnTo>
                  <a:lnTo>
                    <a:pt x="1105" y="972"/>
                  </a:lnTo>
                  <a:lnTo>
                    <a:pt x="1081" y="1025"/>
                  </a:lnTo>
                  <a:lnTo>
                    <a:pt x="1055" y="1076"/>
                  </a:lnTo>
                  <a:lnTo>
                    <a:pt x="1028" y="1126"/>
                  </a:lnTo>
                  <a:lnTo>
                    <a:pt x="1000" y="1176"/>
                  </a:lnTo>
                  <a:lnTo>
                    <a:pt x="970" y="1225"/>
                  </a:lnTo>
                  <a:lnTo>
                    <a:pt x="940" y="1272"/>
                  </a:lnTo>
                  <a:lnTo>
                    <a:pt x="909" y="1318"/>
                  </a:lnTo>
                  <a:lnTo>
                    <a:pt x="878" y="1362"/>
                  </a:lnTo>
                  <a:lnTo>
                    <a:pt x="848" y="1404"/>
                  </a:lnTo>
                  <a:lnTo>
                    <a:pt x="818" y="1444"/>
                  </a:lnTo>
                  <a:lnTo>
                    <a:pt x="789" y="1482"/>
                  </a:lnTo>
                  <a:lnTo>
                    <a:pt x="759" y="1517"/>
                  </a:lnTo>
                  <a:lnTo>
                    <a:pt x="732" y="1550"/>
                  </a:lnTo>
                  <a:lnTo>
                    <a:pt x="707" y="1580"/>
                  </a:lnTo>
                  <a:lnTo>
                    <a:pt x="684" y="1607"/>
                  </a:lnTo>
                  <a:lnTo>
                    <a:pt x="662" y="1631"/>
                  </a:lnTo>
                  <a:lnTo>
                    <a:pt x="643" y="1653"/>
                  </a:lnTo>
                  <a:lnTo>
                    <a:pt x="627" y="1670"/>
                  </a:lnTo>
                  <a:lnTo>
                    <a:pt x="614" y="1683"/>
                  </a:lnTo>
                  <a:lnTo>
                    <a:pt x="604" y="1694"/>
                  </a:lnTo>
                  <a:lnTo>
                    <a:pt x="598" y="1700"/>
                  </a:lnTo>
                  <a:lnTo>
                    <a:pt x="596" y="1702"/>
                  </a:lnTo>
                  <a:lnTo>
                    <a:pt x="594" y="1701"/>
                  </a:lnTo>
                  <a:lnTo>
                    <a:pt x="588" y="1694"/>
                  </a:lnTo>
                  <a:lnTo>
                    <a:pt x="578" y="1684"/>
                  </a:lnTo>
                  <a:lnTo>
                    <a:pt x="565" y="1671"/>
                  </a:lnTo>
                  <a:lnTo>
                    <a:pt x="549" y="1655"/>
                  </a:lnTo>
                  <a:lnTo>
                    <a:pt x="530" y="1634"/>
                  </a:lnTo>
                  <a:lnTo>
                    <a:pt x="508" y="1611"/>
                  </a:lnTo>
                  <a:lnTo>
                    <a:pt x="484" y="1585"/>
                  </a:lnTo>
                  <a:lnTo>
                    <a:pt x="459" y="1556"/>
                  </a:lnTo>
                  <a:lnTo>
                    <a:pt x="432" y="1524"/>
                  </a:lnTo>
                  <a:lnTo>
                    <a:pt x="403" y="1489"/>
                  </a:lnTo>
                  <a:lnTo>
                    <a:pt x="374" y="1452"/>
                  </a:lnTo>
                  <a:lnTo>
                    <a:pt x="344" y="1413"/>
                  </a:lnTo>
                  <a:lnTo>
                    <a:pt x="313" y="1372"/>
                  </a:lnTo>
                  <a:lnTo>
                    <a:pt x="282" y="1329"/>
                  </a:lnTo>
                  <a:lnTo>
                    <a:pt x="251" y="1284"/>
                  </a:lnTo>
                  <a:lnTo>
                    <a:pt x="221" y="1237"/>
                  </a:lnTo>
                  <a:lnTo>
                    <a:pt x="192" y="1189"/>
                  </a:lnTo>
                  <a:lnTo>
                    <a:pt x="163" y="1139"/>
                  </a:lnTo>
                  <a:lnTo>
                    <a:pt x="136" y="1089"/>
                  </a:lnTo>
                  <a:lnTo>
                    <a:pt x="111" y="1037"/>
                  </a:lnTo>
                  <a:lnTo>
                    <a:pt x="87" y="984"/>
                  </a:lnTo>
                  <a:lnTo>
                    <a:pt x="66" y="931"/>
                  </a:lnTo>
                  <a:lnTo>
                    <a:pt x="46" y="877"/>
                  </a:lnTo>
                  <a:lnTo>
                    <a:pt x="30" y="822"/>
                  </a:lnTo>
                  <a:lnTo>
                    <a:pt x="17" y="768"/>
                  </a:lnTo>
                  <a:lnTo>
                    <a:pt x="7" y="712"/>
                  </a:lnTo>
                  <a:lnTo>
                    <a:pt x="2" y="657"/>
                  </a:lnTo>
                  <a:lnTo>
                    <a:pt x="0" y="603"/>
                  </a:lnTo>
                  <a:lnTo>
                    <a:pt x="2" y="541"/>
                  </a:lnTo>
                  <a:lnTo>
                    <a:pt x="12" y="481"/>
                  </a:lnTo>
                  <a:lnTo>
                    <a:pt x="26" y="423"/>
                  </a:lnTo>
                  <a:lnTo>
                    <a:pt x="46" y="367"/>
                  </a:lnTo>
                  <a:lnTo>
                    <a:pt x="71" y="315"/>
                  </a:lnTo>
                  <a:lnTo>
                    <a:pt x="101" y="265"/>
                  </a:lnTo>
                  <a:lnTo>
                    <a:pt x="136" y="219"/>
                  </a:lnTo>
                  <a:lnTo>
                    <a:pt x="173" y="177"/>
                  </a:lnTo>
                  <a:lnTo>
                    <a:pt x="217" y="137"/>
                  </a:lnTo>
                  <a:lnTo>
                    <a:pt x="262" y="102"/>
                  </a:lnTo>
                  <a:lnTo>
                    <a:pt x="312" y="72"/>
                  </a:lnTo>
                  <a:lnTo>
                    <a:pt x="363" y="47"/>
                  </a:lnTo>
                  <a:lnTo>
                    <a:pt x="418" y="27"/>
                  </a:lnTo>
                  <a:lnTo>
                    <a:pt x="476" y="12"/>
                  </a:lnTo>
                  <a:lnTo>
                    <a:pt x="535" y="3"/>
                  </a:lnTo>
                  <a:lnTo>
                    <a:pt x="59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6" name="Freeform 193">
              <a:extLst>
                <a:ext uri="{FF2B5EF4-FFF2-40B4-BE49-F238E27FC236}">
                  <a16:creationId xmlns:a16="http://schemas.microsoft.com/office/drawing/2014/main" id="{435BB1EE-BC46-F18D-2221-9CD971A25A42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3" y="2137"/>
              <a:ext cx="256" cy="415"/>
            </a:xfrm>
            <a:custGeom>
              <a:avLst/>
              <a:gdLst>
                <a:gd name="T0" fmla="*/ 675 w 1788"/>
                <a:gd name="T1" fmla="*/ 29 h 2904"/>
                <a:gd name="T2" fmla="*/ 844 w 1788"/>
                <a:gd name="T3" fmla="*/ 251 h 2904"/>
                <a:gd name="T4" fmla="*/ 1080 w 1788"/>
                <a:gd name="T5" fmla="*/ 536 h 2904"/>
                <a:gd name="T6" fmla="*/ 1206 w 1788"/>
                <a:gd name="T7" fmla="*/ 436 h 2904"/>
                <a:gd name="T8" fmla="*/ 1513 w 1788"/>
                <a:gd name="T9" fmla="*/ 396 h 2904"/>
                <a:gd name="T10" fmla="*/ 1609 w 1788"/>
                <a:gd name="T11" fmla="*/ 559 h 2904"/>
                <a:gd name="T12" fmla="*/ 1686 w 1788"/>
                <a:gd name="T13" fmla="*/ 733 h 2904"/>
                <a:gd name="T14" fmla="*/ 1742 w 1788"/>
                <a:gd name="T15" fmla="*/ 918 h 2904"/>
                <a:gd name="T16" fmla="*/ 1776 w 1788"/>
                <a:gd name="T17" fmla="*/ 1109 h 2904"/>
                <a:gd name="T18" fmla="*/ 1788 w 1788"/>
                <a:gd name="T19" fmla="*/ 1310 h 2904"/>
                <a:gd name="T20" fmla="*/ 1775 w 1788"/>
                <a:gd name="T21" fmla="*/ 1517 h 2904"/>
                <a:gd name="T22" fmla="*/ 1738 w 1788"/>
                <a:gd name="T23" fmla="*/ 1717 h 2904"/>
                <a:gd name="T24" fmla="*/ 1677 w 1788"/>
                <a:gd name="T25" fmla="*/ 1908 h 2904"/>
                <a:gd name="T26" fmla="*/ 1595 w 1788"/>
                <a:gd name="T27" fmla="*/ 2086 h 2904"/>
                <a:gd name="T28" fmla="*/ 1493 w 1788"/>
                <a:gd name="T29" fmla="*/ 2253 h 2904"/>
                <a:gd name="T30" fmla="*/ 1372 w 1788"/>
                <a:gd name="T31" fmla="*/ 2406 h 2904"/>
                <a:gd name="T32" fmla="*/ 1234 w 1788"/>
                <a:gd name="T33" fmla="*/ 2543 h 2904"/>
                <a:gd name="T34" fmla="*/ 1080 w 1788"/>
                <a:gd name="T35" fmla="*/ 2663 h 2904"/>
                <a:gd name="T36" fmla="*/ 914 w 1788"/>
                <a:gd name="T37" fmla="*/ 2765 h 2904"/>
                <a:gd name="T38" fmla="*/ 735 w 1788"/>
                <a:gd name="T39" fmla="*/ 2845 h 2904"/>
                <a:gd name="T40" fmla="*/ 545 w 1788"/>
                <a:gd name="T41" fmla="*/ 2904 h 2904"/>
                <a:gd name="T42" fmla="*/ 854 w 1788"/>
                <a:gd name="T43" fmla="*/ 2608 h 2904"/>
                <a:gd name="T44" fmla="*/ 1120 w 1788"/>
                <a:gd name="T45" fmla="*/ 2315 h 2904"/>
                <a:gd name="T46" fmla="*/ 1020 w 1788"/>
                <a:gd name="T47" fmla="*/ 1795 h 2904"/>
                <a:gd name="T48" fmla="*/ 788 w 1788"/>
                <a:gd name="T49" fmla="*/ 1616 h 2904"/>
                <a:gd name="T50" fmla="*/ 466 w 1788"/>
                <a:gd name="T51" fmla="*/ 1547 h 2904"/>
                <a:gd name="T52" fmla="*/ 256 w 1788"/>
                <a:gd name="T53" fmla="*/ 1492 h 2904"/>
                <a:gd name="T54" fmla="*/ 184 w 1788"/>
                <a:gd name="T55" fmla="*/ 1348 h 2904"/>
                <a:gd name="T56" fmla="*/ 31 w 1788"/>
                <a:gd name="T57" fmla="*/ 1416 h 2904"/>
                <a:gd name="T58" fmla="*/ 126 w 1788"/>
                <a:gd name="T59" fmla="*/ 1221 h 2904"/>
                <a:gd name="T60" fmla="*/ 326 w 1788"/>
                <a:gd name="T61" fmla="*/ 1282 h 2904"/>
                <a:gd name="T62" fmla="*/ 545 w 1788"/>
                <a:gd name="T63" fmla="*/ 942 h 2904"/>
                <a:gd name="T64" fmla="*/ 970 w 1788"/>
                <a:gd name="T65" fmla="*/ 825 h 2904"/>
                <a:gd name="T66" fmla="*/ 791 w 1788"/>
                <a:gd name="T67" fmla="*/ 549 h 2904"/>
                <a:gd name="T68" fmla="*/ 611 w 1788"/>
                <a:gd name="T69" fmla="*/ 402 h 2904"/>
                <a:gd name="T70" fmla="*/ 403 w 1788"/>
                <a:gd name="T71" fmla="*/ 341 h 2904"/>
                <a:gd name="T72" fmla="*/ 200 w 1788"/>
                <a:gd name="T73" fmla="*/ 479 h 2904"/>
                <a:gd name="T74" fmla="*/ 320 w 1788"/>
                <a:gd name="T75" fmla="*/ 341 h 2904"/>
                <a:gd name="T76" fmla="*/ 495 w 1788"/>
                <a:gd name="T77" fmla="*/ 203 h 2904"/>
                <a:gd name="T78" fmla="*/ 592 w 1788"/>
                <a:gd name="T79" fmla="*/ 328 h 2904"/>
                <a:gd name="T80" fmla="*/ 742 w 1788"/>
                <a:gd name="T81" fmla="*/ 305 h 2904"/>
                <a:gd name="T82" fmla="*/ 519 w 1788"/>
                <a:gd name="T83" fmla="*/ 70 h 29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788" h="2904">
                  <a:moveTo>
                    <a:pt x="522" y="0"/>
                  </a:moveTo>
                  <a:lnTo>
                    <a:pt x="675" y="29"/>
                  </a:lnTo>
                  <a:lnTo>
                    <a:pt x="804" y="147"/>
                  </a:lnTo>
                  <a:lnTo>
                    <a:pt x="844" y="251"/>
                  </a:lnTo>
                  <a:lnTo>
                    <a:pt x="874" y="348"/>
                  </a:lnTo>
                  <a:lnTo>
                    <a:pt x="1080" y="536"/>
                  </a:lnTo>
                  <a:lnTo>
                    <a:pt x="1133" y="553"/>
                  </a:lnTo>
                  <a:lnTo>
                    <a:pt x="1206" y="436"/>
                  </a:lnTo>
                  <a:lnTo>
                    <a:pt x="1466" y="412"/>
                  </a:lnTo>
                  <a:lnTo>
                    <a:pt x="1513" y="396"/>
                  </a:lnTo>
                  <a:lnTo>
                    <a:pt x="1564" y="476"/>
                  </a:lnTo>
                  <a:lnTo>
                    <a:pt x="1609" y="559"/>
                  </a:lnTo>
                  <a:lnTo>
                    <a:pt x="1649" y="645"/>
                  </a:lnTo>
                  <a:lnTo>
                    <a:pt x="1686" y="733"/>
                  </a:lnTo>
                  <a:lnTo>
                    <a:pt x="1716" y="824"/>
                  </a:lnTo>
                  <a:lnTo>
                    <a:pt x="1742" y="918"/>
                  </a:lnTo>
                  <a:lnTo>
                    <a:pt x="1762" y="1012"/>
                  </a:lnTo>
                  <a:lnTo>
                    <a:pt x="1776" y="1109"/>
                  </a:lnTo>
                  <a:lnTo>
                    <a:pt x="1785" y="1209"/>
                  </a:lnTo>
                  <a:lnTo>
                    <a:pt x="1788" y="1310"/>
                  </a:lnTo>
                  <a:lnTo>
                    <a:pt x="1785" y="1415"/>
                  </a:lnTo>
                  <a:lnTo>
                    <a:pt x="1775" y="1517"/>
                  </a:lnTo>
                  <a:lnTo>
                    <a:pt x="1759" y="1619"/>
                  </a:lnTo>
                  <a:lnTo>
                    <a:pt x="1738" y="1717"/>
                  </a:lnTo>
                  <a:lnTo>
                    <a:pt x="1711" y="1814"/>
                  </a:lnTo>
                  <a:lnTo>
                    <a:pt x="1677" y="1908"/>
                  </a:lnTo>
                  <a:lnTo>
                    <a:pt x="1638" y="1998"/>
                  </a:lnTo>
                  <a:lnTo>
                    <a:pt x="1595" y="2086"/>
                  </a:lnTo>
                  <a:lnTo>
                    <a:pt x="1546" y="2171"/>
                  </a:lnTo>
                  <a:lnTo>
                    <a:pt x="1493" y="2253"/>
                  </a:lnTo>
                  <a:lnTo>
                    <a:pt x="1434" y="2332"/>
                  </a:lnTo>
                  <a:lnTo>
                    <a:pt x="1372" y="2406"/>
                  </a:lnTo>
                  <a:lnTo>
                    <a:pt x="1305" y="2477"/>
                  </a:lnTo>
                  <a:lnTo>
                    <a:pt x="1234" y="2543"/>
                  </a:lnTo>
                  <a:lnTo>
                    <a:pt x="1159" y="2605"/>
                  </a:lnTo>
                  <a:lnTo>
                    <a:pt x="1080" y="2663"/>
                  </a:lnTo>
                  <a:lnTo>
                    <a:pt x="999" y="2717"/>
                  </a:lnTo>
                  <a:lnTo>
                    <a:pt x="914" y="2765"/>
                  </a:lnTo>
                  <a:lnTo>
                    <a:pt x="826" y="2807"/>
                  </a:lnTo>
                  <a:lnTo>
                    <a:pt x="735" y="2845"/>
                  </a:lnTo>
                  <a:lnTo>
                    <a:pt x="641" y="2877"/>
                  </a:lnTo>
                  <a:lnTo>
                    <a:pt x="545" y="2904"/>
                  </a:lnTo>
                  <a:lnTo>
                    <a:pt x="575" y="2795"/>
                  </a:lnTo>
                  <a:lnTo>
                    <a:pt x="854" y="2608"/>
                  </a:lnTo>
                  <a:lnTo>
                    <a:pt x="927" y="2406"/>
                  </a:lnTo>
                  <a:lnTo>
                    <a:pt x="1120" y="2315"/>
                  </a:lnTo>
                  <a:lnTo>
                    <a:pt x="1303" y="1962"/>
                  </a:lnTo>
                  <a:lnTo>
                    <a:pt x="1020" y="1795"/>
                  </a:lnTo>
                  <a:lnTo>
                    <a:pt x="874" y="1626"/>
                  </a:lnTo>
                  <a:lnTo>
                    <a:pt x="788" y="1616"/>
                  </a:lnTo>
                  <a:lnTo>
                    <a:pt x="615" y="1570"/>
                  </a:lnTo>
                  <a:lnTo>
                    <a:pt x="466" y="1547"/>
                  </a:lnTo>
                  <a:lnTo>
                    <a:pt x="336" y="1583"/>
                  </a:lnTo>
                  <a:lnTo>
                    <a:pt x="256" y="1492"/>
                  </a:lnTo>
                  <a:lnTo>
                    <a:pt x="176" y="1469"/>
                  </a:lnTo>
                  <a:lnTo>
                    <a:pt x="184" y="1348"/>
                  </a:lnTo>
                  <a:lnTo>
                    <a:pt x="88" y="1352"/>
                  </a:lnTo>
                  <a:lnTo>
                    <a:pt x="31" y="1416"/>
                  </a:lnTo>
                  <a:lnTo>
                    <a:pt x="0" y="1282"/>
                  </a:lnTo>
                  <a:lnTo>
                    <a:pt x="126" y="1221"/>
                  </a:lnTo>
                  <a:lnTo>
                    <a:pt x="256" y="1282"/>
                  </a:lnTo>
                  <a:lnTo>
                    <a:pt x="326" y="1282"/>
                  </a:lnTo>
                  <a:lnTo>
                    <a:pt x="351" y="1177"/>
                  </a:lnTo>
                  <a:lnTo>
                    <a:pt x="545" y="942"/>
                  </a:lnTo>
                  <a:lnTo>
                    <a:pt x="815" y="804"/>
                  </a:lnTo>
                  <a:lnTo>
                    <a:pt x="970" y="825"/>
                  </a:lnTo>
                  <a:lnTo>
                    <a:pt x="984" y="747"/>
                  </a:lnTo>
                  <a:lnTo>
                    <a:pt x="791" y="549"/>
                  </a:lnTo>
                  <a:lnTo>
                    <a:pt x="718" y="402"/>
                  </a:lnTo>
                  <a:lnTo>
                    <a:pt x="611" y="402"/>
                  </a:lnTo>
                  <a:lnTo>
                    <a:pt x="545" y="363"/>
                  </a:lnTo>
                  <a:lnTo>
                    <a:pt x="403" y="341"/>
                  </a:lnTo>
                  <a:lnTo>
                    <a:pt x="372" y="513"/>
                  </a:lnTo>
                  <a:lnTo>
                    <a:pt x="200" y="479"/>
                  </a:lnTo>
                  <a:lnTo>
                    <a:pt x="187" y="371"/>
                  </a:lnTo>
                  <a:lnTo>
                    <a:pt x="320" y="341"/>
                  </a:lnTo>
                  <a:lnTo>
                    <a:pt x="363" y="149"/>
                  </a:lnTo>
                  <a:lnTo>
                    <a:pt x="495" y="203"/>
                  </a:lnTo>
                  <a:lnTo>
                    <a:pt x="491" y="286"/>
                  </a:lnTo>
                  <a:lnTo>
                    <a:pt x="592" y="328"/>
                  </a:lnTo>
                  <a:lnTo>
                    <a:pt x="658" y="348"/>
                  </a:lnTo>
                  <a:lnTo>
                    <a:pt x="742" y="305"/>
                  </a:lnTo>
                  <a:lnTo>
                    <a:pt x="668" y="218"/>
                  </a:lnTo>
                  <a:lnTo>
                    <a:pt x="519" y="70"/>
                  </a:lnTo>
                  <a:lnTo>
                    <a:pt x="52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7" name="Freeform 194">
              <a:extLst>
                <a:ext uri="{FF2B5EF4-FFF2-40B4-BE49-F238E27FC236}">
                  <a16:creationId xmlns:a16="http://schemas.microsoft.com/office/drawing/2014/main" id="{894D8269-B215-2719-F80B-A9C31E3EB56E}"/>
                </a:ext>
              </a:extLst>
            </p:cNvPr>
            <p:cNvSpPr>
              <a:spLocks/>
            </p:cNvSpPr>
            <p:nvPr/>
          </p:nvSpPr>
          <p:spPr bwMode="auto">
            <a:xfrm>
              <a:off x="4455" y="2223"/>
              <a:ext cx="269" cy="336"/>
            </a:xfrm>
            <a:custGeom>
              <a:avLst/>
              <a:gdLst>
                <a:gd name="T0" fmla="*/ 184 w 1886"/>
                <a:gd name="T1" fmla="*/ 55 h 2349"/>
                <a:gd name="T2" fmla="*/ 238 w 1886"/>
                <a:gd name="T3" fmla="*/ 162 h 2349"/>
                <a:gd name="T4" fmla="*/ 298 w 1886"/>
                <a:gd name="T5" fmla="*/ 264 h 2349"/>
                <a:gd name="T6" fmla="*/ 360 w 1886"/>
                <a:gd name="T7" fmla="*/ 359 h 2349"/>
                <a:gd name="T8" fmla="*/ 424 w 1886"/>
                <a:gd name="T9" fmla="*/ 447 h 2349"/>
                <a:gd name="T10" fmla="*/ 486 w 1886"/>
                <a:gd name="T11" fmla="*/ 526 h 2349"/>
                <a:gd name="T12" fmla="*/ 543 w 1886"/>
                <a:gd name="T13" fmla="*/ 596 h 2349"/>
                <a:gd name="T14" fmla="*/ 595 w 1886"/>
                <a:gd name="T15" fmla="*/ 655 h 2349"/>
                <a:gd name="T16" fmla="*/ 639 w 1886"/>
                <a:gd name="T17" fmla="*/ 702 h 2349"/>
                <a:gd name="T18" fmla="*/ 671 w 1886"/>
                <a:gd name="T19" fmla="*/ 736 h 2349"/>
                <a:gd name="T20" fmla="*/ 692 w 1886"/>
                <a:gd name="T21" fmla="*/ 756 h 2349"/>
                <a:gd name="T22" fmla="*/ 772 w 1886"/>
                <a:gd name="T23" fmla="*/ 832 h 2349"/>
                <a:gd name="T24" fmla="*/ 849 w 1886"/>
                <a:gd name="T25" fmla="*/ 754 h 2349"/>
                <a:gd name="T26" fmla="*/ 870 w 1886"/>
                <a:gd name="T27" fmla="*/ 733 h 2349"/>
                <a:gd name="T28" fmla="*/ 903 w 1886"/>
                <a:gd name="T29" fmla="*/ 697 h 2349"/>
                <a:gd name="T30" fmla="*/ 947 w 1886"/>
                <a:gd name="T31" fmla="*/ 647 h 2349"/>
                <a:gd name="T32" fmla="*/ 1000 w 1886"/>
                <a:gd name="T33" fmla="*/ 585 h 2349"/>
                <a:gd name="T34" fmla="*/ 1211 w 1886"/>
                <a:gd name="T35" fmla="*/ 820 h 2349"/>
                <a:gd name="T36" fmla="*/ 1301 w 1886"/>
                <a:gd name="T37" fmla="*/ 898 h 2349"/>
                <a:gd name="T38" fmla="*/ 1693 w 1886"/>
                <a:gd name="T39" fmla="*/ 1082 h 2349"/>
                <a:gd name="T40" fmla="*/ 1693 w 1886"/>
                <a:gd name="T41" fmla="*/ 1344 h 2349"/>
                <a:gd name="T42" fmla="*/ 1812 w 1886"/>
                <a:gd name="T43" fmla="*/ 1568 h 2349"/>
                <a:gd name="T44" fmla="*/ 1818 w 1886"/>
                <a:gd name="T45" fmla="*/ 1589 h 2349"/>
                <a:gd name="T46" fmla="*/ 1828 w 1886"/>
                <a:gd name="T47" fmla="*/ 1625 h 2349"/>
                <a:gd name="T48" fmla="*/ 1842 w 1886"/>
                <a:gd name="T49" fmla="*/ 1670 h 2349"/>
                <a:gd name="T50" fmla="*/ 1855 w 1886"/>
                <a:gd name="T51" fmla="*/ 1719 h 2349"/>
                <a:gd name="T52" fmla="*/ 1869 w 1886"/>
                <a:gd name="T53" fmla="*/ 1765 h 2349"/>
                <a:gd name="T54" fmla="*/ 1879 w 1886"/>
                <a:gd name="T55" fmla="*/ 1802 h 2349"/>
                <a:gd name="T56" fmla="*/ 1885 w 1886"/>
                <a:gd name="T57" fmla="*/ 1826 h 2349"/>
                <a:gd name="T58" fmla="*/ 1885 w 1886"/>
                <a:gd name="T59" fmla="*/ 1835 h 2349"/>
                <a:gd name="T60" fmla="*/ 1879 w 1886"/>
                <a:gd name="T61" fmla="*/ 1862 h 2349"/>
                <a:gd name="T62" fmla="*/ 1869 w 1886"/>
                <a:gd name="T63" fmla="*/ 1905 h 2349"/>
                <a:gd name="T64" fmla="*/ 1855 w 1886"/>
                <a:gd name="T65" fmla="*/ 1959 h 2349"/>
                <a:gd name="T66" fmla="*/ 1842 w 1886"/>
                <a:gd name="T67" fmla="*/ 2014 h 2349"/>
                <a:gd name="T68" fmla="*/ 1828 w 1886"/>
                <a:gd name="T69" fmla="*/ 2067 h 2349"/>
                <a:gd name="T70" fmla="*/ 1818 w 1886"/>
                <a:gd name="T71" fmla="*/ 2108 h 2349"/>
                <a:gd name="T72" fmla="*/ 1812 w 1886"/>
                <a:gd name="T73" fmla="*/ 2132 h 2349"/>
                <a:gd name="T74" fmla="*/ 1828 w 1886"/>
                <a:gd name="T75" fmla="*/ 2335 h 2349"/>
                <a:gd name="T76" fmla="*/ 1693 w 1886"/>
                <a:gd name="T77" fmla="*/ 2347 h 2349"/>
                <a:gd name="T78" fmla="*/ 1517 w 1886"/>
                <a:gd name="T79" fmla="*/ 2345 h 2349"/>
                <a:gd name="T80" fmla="*/ 1310 w 1886"/>
                <a:gd name="T81" fmla="*/ 2317 h 2349"/>
                <a:gd name="T82" fmla="*/ 1110 w 1886"/>
                <a:gd name="T83" fmla="*/ 2265 h 2349"/>
                <a:gd name="T84" fmla="*/ 923 w 1886"/>
                <a:gd name="T85" fmla="*/ 2188 h 2349"/>
                <a:gd name="T86" fmla="*/ 748 w 1886"/>
                <a:gd name="T87" fmla="*/ 2089 h 2349"/>
                <a:gd name="T88" fmla="*/ 586 w 1886"/>
                <a:gd name="T89" fmla="*/ 1970 h 2349"/>
                <a:gd name="T90" fmla="*/ 441 w 1886"/>
                <a:gd name="T91" fmla="*/ 1831 h 2349"/>
                <a:gd name="T92" fmla="*/ 314 w 1886"/>
                <a:gd name="T93" fmla="*/ 1676 h 2349"/>
                <a:gd name="T94" fmla="*/ 205 w 1886"/>
                <a:gd name="T95" fmla="*/ 1506 h 2349"/>
                <a:gd name="T96" fmla="*/ 118 w 1886"/>
                <a:gd name="T97" fmla="*/ 1322 h 2349"/>
                <a:gd name="T98" fmla="*/ 54 w 1886"/>
                <a:gd name="T99" fmla="*/ 1127 h 2349"/>
                <a:gd name="T100" fmla="*/ 14 w 1886"/>
                <a:gd name="T101" fmla="*/ 921 h 2349"/>
                <a:gd name="T102" fmla="*/ 0 w 1886"/>
                <a:gd name="T103" fmla="*/ 707 h 2349"/>
                <a:gd name="T104" fmla="*/ 11 w 1886"/>
                <a:gd name="T105" fmla="*/ 521 h 2349"/>
                <a:gd name="T106" fmla="*/ 42 w 1886"/>
                <a:gd name="T107" fmla="*/ 340 h 2349"/>
                <a:gd name="T108" fmla="*/ 93 w 1886"/>
                <a:gd name="T109" fmla="*/ 166 h 2349"/>
                <a:gd name="T110" fmla="*/ 161 w 1886"/>
                <a:gd name="T111" fmla="*/ 0 h 23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886" h="2349">
                  <a:moveTo>
                    <a:pt x="161" y="0"/>
                  </a:moveTo>
                  <a:lnTo>
                    <a:pt x="184" y="55"/>
                  </a:lnTo>
                  <a:lnTo>
                    <a:pt x="211" y="110"/>
                  </a:lnTo>
                  <a:lnTo>
                    <a:pt x="238" y="162"/>
                  </a:lnTo>
                  <a:lnTo>
                    <a:pt x="268" y="214"/>
                  </a:lnTo>
                  <a:lnTo>
                    <a:pt x="298" y="264"/>
                  </a:lnTo>
                  <a:lnTo>
                    <a:pt x="329" y="312"/>
                  </a:lnTo>
                  <a:lnTo>
                    <a:pt x="360" y="359"/>
                  </a:lnTo>
                  <a:lnTo>
                    <a:pt x="393" y="404"/>
                  </a:lnTo>
                  <a:lnTo>
                    <a:pt x="424" y="447"/>
                  </a:lnTo>
                  <a:lnTo>
                    <a:pt x="455" y="488"/>
                  </a:lnTo>
                  <a:lnTo>
                    <a:pt x="486" y="526"/>
                  </a:lnTo>
                  <a:lnTo>
                    <a:pt x="515" y="562"/>
                  </a:lnTo>
                  <a:lnTo>
                    <a:pt x="543" y="596"/>
                  </a:lnTo>
                  <a:lnTo>
                    <a:pt x="570" y="626"/>
                  </a:lnTo>
                  <a:lnTo>
                    <a:pt x="595" y="655"/>
                  </a:lnTo>
                  <a:lnTo>
                    <a:pt x="618" y="680"/>
                  </a:lnTo>
                  <a:lnTo>
                    <a:pt x="639" y="702"/>
                  </a:lnTo>
                  <a:lnTo>
                    <a:pt x="656" y="721"/>
                  </a:lnTo>
                  <a:lnTo>
                    <a:pt x="671" y="736"/>
                  </a:lnTo>
                  <a:lnTo>
                    <a:pt x="683" y="748"/>
                  </a:lnTo>
                  <a:lnTo>
                    <a:pt x="692" y="756"/>
                  </a:lnTo>
                  <a:lnTo>
                    <a:pt x="696" y="760"/>
                  </a:lnTo>
                  <a:lnTo>
                    <a:pt x="772" y="832"/>
                  </a:lnTo>
                  <a:lnTo>
                    <a:pt x="845" y="759"/>
                  </a:lnTo>
                  <a:lnTo>
                    <a:pt x="849" y="754"/>
                  </a:lnTo>
                  <a:lnTo>
                    <a:pt x="858" y="745"/>
                  </a:lnTo>
                  <a:lnTo>
                    <a:pt x="870" y="733"/>
                  </a:lnTo>
                  <a:lnTo>
                    <a:pt x="885" y="717"/>
                  </a:lnTo>
                  <a:lnTo>
                    <a:pt x="903" y="697"/>
                  </a:lnTo>
                  <a:lnTo>
                    <a:pt x="925" y="673"/>
                  </a:lnTo>
                  <a:lnTo>
                    <a:pt x="947" y="647"/>
                  </a:lnTo>
                  <a:lnTo>
                    <a:pt x="973" y="618"/>
                  </a:lnTo>
                  <a:lnTo>
                    <a:pt x="1000" y="585"/>
                  </a:lnTo>
                  <a:lnTo>
                    <a:pt x="1172" y="820"/>
                  </a:lnTo>
                  <a:lnTo>
                    <a:pt x="1211" y="820"/>
                  </a:lnTo>
                  <a:lnTo>
                    <a:pt x="1211" y="707"/>
                  </a:lnTo>
                  <a:lnTo>
                    <a:pt x="1301" y="898"/>
                  </a:lnTo>
                  <a:lnTo>
                    <a:pt x="1571" y="958"/>
                  </a:lnTo>
                  <a:lnTo>
                    <a:pt x="1693" y="1082"/>
                  </a:lnTo>
                  <a:lnTo>
                    <a:pt x="1801" y="1115"/>
                  </a:lnTo>
                  <a:lnTo>
                    <a:pt x="1693" y="1344"/>
                  </a:lnTo>
                  <a:lnTo>
                    <a:pt x="1811" y="1565"/>
                  </a:lnTo>
                  <a:lnTo>
                    <a:pt x="1812" y="1568"/>
                  </a:lnTo>
                  <a:lnTo>
                    <a:pt x="1814" y="1576"/>
                  </a:lnTo>
                  <a:lnTo>
                    <a:pt x="1818" y="1589"/>
                  </a:lnTo>
                  <a:lnTo>
                    <a:pt x="1823" y="1605"/>
                  </a:lnTo>
                  <a:lnTo>
                    <a:pt x="1828" y="1625"/>
                  </a:lnTo>
                  <a:lnTo>
                    <a:pt x="1835" y="1647"/>
                  </a:lnTo>
                  <a:lnTo>
                    <a:pt x="1842" y="1670"/>
                  </a:lnTo>
                  <a:lnTo>
                    <a:pt x="1849" y="1694"/>
                  </a:lnTo>
                  <a:lnTo>
                    <a:pt x="1855" y="1719"/>
                  </a:lnTo>
                  <a:lnTo>
                    <a:pt x="1863" y="1742"/>
                  </a:lnTo>
                  <a:lnTo>
                    <a:pt x="1869" y="1765"/>
                  </a:lnTo>
                  <a:lnTo>
                    <a:pt x="1875" y="1784"/>
                  </a:lnTo>
                  <a:lnTo>
                    <a:pt x="1879" y="1802"/>
                  </a:lnTo>
                  <a:lnTo>
                    <a:pt x="1883" y="1816"/>
                  </a:lnTo>
                  <a:lnTo>
                    <a:pt x="1885" y="1826"/>
                  </a:lnTo>
                  <a:lnTo>
                    <a:pt x="1886" y="1830"/>
                  </a:lnTo>
                  <a:lnTo>
                    <a:pt x="1885" y="1835"/>
                  </a:lnTo>
                  <a:lnTo>
                    <a:pt x="1883" y="1846"/>
                  </a:lnTo>
                  <a:lnTo>
                    <a:pt x="1879" y="1862"/>
                  </a:lnTo>
                  <a:lnTo>
                    <a:pt x="1875" y="1882"/>
                  </a:lnTo>
                  <a:lnTo>
                    <a:pt x="1869" y="1905"/>
                  </a:lnTo>
                  <a:lnTo>
                    <a:pt x="1863" y="1931"/>
                  </a:lnTo>
                  <a:lnTo>
                    <a:pt x="1855" y="1959"/>
                  </a:lnTo>
                  <a:lnTo>
                    <a:pt x="1849" y="1987"/>
                  </a:lnTo>
                  <a:lnTo>
                    <a:pt x="1842" y="2014"/>
                  </a:lnTo>
                  <a:lnTo>
                    <a:pt x="1835" y="2042"/>
                  </a:lnTo>
                  <a:lnTo>
                    <a:pt x="1828" y="2067"/>
                  </a:lnTo>
                  <a:lnTo>
                    <a:pt x="1823" y="2089"/>
                  </a:lnTo>
                  <a:lnTo>
                    <a:pt x="1818" y="2108"/>
                  </a:lnTo>
                  <a:lnTo>
                    <a:pt x="1814" y="2123"/>
                  </a:lnTo>
                  <a:lnTo>
                    <a:pt x="1812" y="2132"/>
                  </a:lnTo>
                  <a:lnTo>
                    <a:pt x="1811" y="2135"/>
                  </a:lnTo>
                  <a:lnTo>
                    <a:pt x="1828" y="2335"/>
                  </a:lnTo>
                  <a:lnTo>
                    <a:pt x="1761" y="2341"/>
                  </a:lnTo>
                  <a:lnTo>
                    <a:pt x="1693" y="2347"/>
                  </a:lnTo>
                  <a:lnTo>
                    <a:pt x="1624" y="2349"/>
                  </a:lnTo>
                  <a:lnTo>
                    <a:pt x="1517" y="2345"/>
                  </a:lnTo>
                  <a:lnTo>
                    <a:pt x="1413" y="2335"/>
                  </a:lnTo>
                  <a:lnTo>
                    <a:pt x="1310" y="2317"/>
                  </a:lnTo>
                  <a:lnTo>
                    <a:pt x="1209" y="2294"/>
                  </a:lnTo>
                  <a:lnTo>
                    <a:pt x="1110" y="2265"/>
                  </a:lnTo>
                  <a:lnTo>
                    <a:pt x="1015" y="2229"/>
                  </a:lnTo>
                  <a:lnTo>
                    <a:pt x="923" y="2188"/>
                  </a:lnTo>
                  <a:lnTo>
                    <a:pt x="833" y="2141"/>
                  </a:lnTo>
                  <a:lnTo>
                    <a:pt x="748" y="2089"/>
                  </a:lnTo>
                  <a:lnTo>
                    <a:pt x="665" y="2032"/>
                  </a:lnTo>
                  <a:lnTo>
                    <a:pt x="586" y="1970"/>
                  </a:lnTo>
                  <a:lnTo>
                    <a:pt x="511" y="1903"/>
                  </a:lnTo>
                  <a:lnTo>
                    <a:pt x="441" y="1831"/>
                  </a:lnTo>
                  <a:lnTo>
                    <a:pt x="375" y="1756"/>
                  </a:lnTo>
                  <a:lnTo>
                    <a:pt x="314" y="1676"/>
                  </a:lnTo>
                  <a:lnTo>
                    <a:pt x="257" y="1593"/>
                  </a:lnTo>
                  <a:lnTo>
                    <a:pt x="205" y="1506"/>
                  </a:lnTo>
                  <a:lnTo>
                    <a:pt x="159" y="1416"/>
                  </a:lnTo>
                  <a:lnTo>
                    <a:pt x="118" y="1322"/>
                  </a:lnTo>
                  <a:lnTo>
                    <a:pt x="83" y="1226"/>
                  </a:lnTo>
                  <a:lnTo>
                    <a:pt x="54" y="1127"/>
                  </a:lnTo>
                  <a:lnTo>
                    <a:pt x="30" y="1025"/>
                  </a:lnTo>
                  <a:lnTo>
                    <a:pt x="14" y="921"/>
                  </a:lnTo>
                  <a:lnTo>
                    <a:pt x="3" y="815"/>
                  </a:lnTo>
                  <a:lnTo>
                    <a:pt x="0" y="707"/>
                  </a:lnTo>
                  <a:lnTo>
                    <a:pt x="3" y="613"/>
                  </a:lnTo>
                  <a:lnTo>
                    <a:pt x="11" y="521"/>
                  </a:lnTo>
                  <a:lnTo>
                    <a:pt x="24" y="429"/>
                  </a:lnTo>
                  <a:lnTo>
                    <a:pt x="42" y="340"/>
                  </a:lnTo>
                  <a:lnTo>
                    <a:pt x="65" y="251"/>
                  </a:lnTo>
                  <a:lnTo>
                    <a:pt x="93" y="166"/>
                  </a:lnTo>
                  <a:lnTo>
                    <a:pt x="124" y="82"/>
                  </a:lnTo>
                  <a:lnTo>
                    <a:pt x="16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8" name="Freeform 195">
              <a:extLst>
                <a:ext uri="{FF2B5EF4-FFF2-40B4-BE49-F238E27FC236}">
                  <a16:creationId xmlns:a16="http://schemas.microsoft.com/office/drawing/2014/main" id="{0D03F75D-CA9F-666C-891B-DED88EC3788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39" y="2090"/>
              <a:ext cx="147" cy="53"/>
            </a:xfrm>
            <a:custGeom>
              <a:avLst/>
              <a:gdLst>
                <a:gd name="T0" fmla="*/ 572 w 1029"/>
                <a:gd name="T1" fmla="*/ 71 h 374"/>
                <a:gd name="T2" fmla="*/ 406 w 1029"/>
                <a:gd name="T3" fmla="*/ 164 h 374"/>
                <a:gd name="T4" fmla="*/ 311 w 1029"/>
                <a:gd name="T5" fmla="*/ 224 h 374"/>
                <a:gd name="T6" fmla="*/ 377 w 1029"/>
                <a:gd name="T7" fmla="*/ 267 h 374"/>
                <a:gd name="T8" fmla="*/ 524 w 1029"/>
                <a:gd name="T9" fmla="*/ 252 h 374"/>
                <a:gd name="T10" fmla="*/ 678 w 1029"/>
                <a:gd name="T11" fmla="*/ 133 h 374"/>
                <a:gd name="T12" fmla="*/ 572 w 1029"/>
                <a:gd name="T13" fmla="*/ 71 h 374"/>
                <a:gd name="T14" fmla="*/ 337 w 1029"/>
                <a:gd name="T15" fmla="*/ 0 h 374"/>
                <a:gd name="T16" fmla="*/ 430 w 1029"/>
                <a:gd name="T17" fmla="*/ 3 h 374"/>
                <a:gd name="T18" fmla="*/ 521 w 1029"/>
                <a:gd name="T19" fmla="*/ 11 h 374"/>
                <a:gd name="T20" fmla="*/ 609 w 1029"/>
                <a:gd name="T21" fmla="*/ 24 h 374"/>
                <a:gd name="T22" fmla="*/ 698 w 1029"/>
                <a:gd name="T23" fmla="*/ 42 h 374"/>
                <a:gd name="T24" fmla="*/ 783 w 1029"/>
                <a:gd name="T25" fmla="*/ 64 h 374"/>
                <a:gd name="T26" fmla="*/ 867 w 1029"/>
                <a:gd name="T27" fmla="*/ 92 h 374"/>
                <a:gd name="T28" fmla="*/ 949 w 1029"/>
                <a:gd name="T29" fmla="*/ 123 h 374"/>
                <a:gd name="T30" fmla="*/ 1029 w 1029"/>
                <a:gd name="T31" fmla="*/ 158 h 374"/>
                <a:gd name="T32" fmla="*/ 971 w 1029"/>
                <a:gd name="T33" fmla="*/ 167 h 374"/>
                <a:gd name="T34" fmla="*/ 811 w 1029"/>
                <a:gd name="T35" fmla="*/ 143 h 374"/>
                <a:gd name="T36" fmla="*/ 699 w 1029"/>
                <a:gd name="T37" fmla="*/ 219 h 374"/>
                <a:gd name="T38" fmla="*/ 619 w 1029"/>
                <a:gd name="T39" fmla="*/ 308 h 374"/>
                <a:gd name="T40" fmla="*/ 329 w 1029"/>
                <a:gd name="T41" fmla="*/ 335 h 374"/>
                <a:gd name="T42" fmla="*/ 209 w 1029"/>
                <a:gd name="T43" fmla="*/ 315 h 374"/>
                <a:gd name="T44" fmla="*/ 172 w 1029"/>
                <a:gd name="T45" fmla="*/ 374 h 374"/>
                <a:gd name="T46" fmla="*/ 156 w 1029"/>
                <a:gd name="T47" fmla="*/ 312 h 374"/>
                <a:gd name="T48" fmla="*/ 135 w 1029"/>
                <a:gd name="T49" fmla="*/ 251 h 374"/>
                <a:gd name="T50" fmla="*/ 108 w 1029"/>
                <a:gd name="T51" fmla="*/ 193 h 374"/>
                <a:gd name="T52" fmla="*/ 77 w 1029"/>
                <a:gd name="T53" fmla="*/ 137 h 374"/>
                <a:gd name="T54" fmla="*/ 41 w 1029"/>
                <a:gd name="T55" fmla="*/ 86 h 374"/>
                <a:gd name="T56" fmla="*/ 0 w 1029"/>
                <a:gd name="T57" fmla="*/ 37 h 374"/>
                <a:gd name="T58" fmla="*/ 84 w 1029"/>
                <a:gd name="T59" fmla="*/ 22 h 374"/>
                <a:gd name="T60" fmla="*/ 167 w 1029"/>
                <a:gd name="T61" fmla="*/ 10 h 374"/>
                <a:gd name="T62" fmla="*/ 251 w 1029"/>
                <a:gd name="T63" fmla="*/ 3 h 374"/>
                <a:gd name="T64" fmla="*/ 337 w 1029"/>
                <a:gd name="T65" fmla="*/ 0 h 3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29" h="374">
                  <a:moveTo>
                    <a:pt x="572" y="71"/>
                  </a:moveTo>
                  <a:lnTo>
                    <a:pt x="406" y="164"/>
                  </a:lnTo>
                  <a:lnTo>
                    <a:pt x="311" y="224"/>
                  </a:lnTo>
                  <a:lnTo>
                    <a:pt x="377" y="267"/>
                  </a:lnTo>
                  <a:lnTo>
                    <a:pt x="524" y="252"/>
                  </a:lnTo>
                  <a:lnTo>
                    <a:pt x="678" y="133"/>
                  </a:lnTo>
                  <a:lnTo>
                    <a:pt x="572" y="71"/>
                  </a:lnTo>
                  <a:close/>
                  <a:moveTo>
                    <a:pt x="337" y="0"/>
                  </a:moveTo>
                  <a:lnTo>
                    <a:pt x="430" y="3"/>
                  </a:lnTo>
                  <a:lnTo>
                    <a:pt x="521" y="11"/>
                  </a:lnTo>
                  <a:lnTo>
                    <a:pt x="609" y="24"/>
                  </a:lnTo>
                  <a:lnTo>
                    <a:pt x="698" y="42"/>
                  </a:lnTo>
                  <a:lnTo>
                    <a:pt x="783" y="64"/>
                  </a:lnTo>
                  <a:lnTo>
                    <a:pt x="867" y="92"/>
                  </a:lnTo>
                  <a:lnTo>
                    <a:pt x="949" y="123"/>
                  </a:lnTo>
                  <a:lnTo>
                    <a:pt x="1029" y="158"/>
                  </a:lnTo>
                  <a:lnTo>
                    <a:pt x="971" y="167"/>
                  </a:lnTo>
                  <a:lnTo>
                    <a:pt x="811" y="143"/>
                  </a:lnTo>
                  <a:lnTo>
                    <a:pt x="699" y="219"/>
                  </a:lnTo>
                  <a:lnTo>
                    <a:pt x="619" y="308"/>
                  </a:lnTo>
                  <a:lnTo>
                    <a:pt x="329" y="335"/>
                  </a:lnTo>
                  <a:lnTo>
                    <a:pt x="209" y="315"/>
                  </a:lnTo>
                  <a:lnTo>
                    <a:pt x="172" y="374"/>
                  </a:lnTo>
                  <a:lnTo>
                    <a:pt x="156" y="312"/>
                  </a:lnTo>
                  <a:lnTo>
                    <a:pt x="135" y="251"/>
                  </a:lnTo>
                  <a:lnTo>
                    <a:pt x="108" y="193"/>
                  </a:lnTo>
                  <a:lnTo>
                    <a:pt x="77" y="137"/>
                  </a:lnTo>
                  <a:lnTo>
                    <a:pt x="41" y="86"/>
                  </a:lnTo>
                  <a:lnTo>
                    <a:pt x="0" y="37"/>
                  </a:lnTo>
                  <a:lnTo>
                    <a:pt x="84" y="22"/>
                  </a:lnTo>
                  <a:lnTo>
                    <a:pt x="167" y="10"/>
                  </a:lnTo>
                  <a:lnTo>
                    <a:pt x="251" y="3"/>
                  </a:lnTo>
                  <a:lnTo>
                    <a:pt x="33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sp>
        <p:nvSpPr>
          <p:cNvPr id="40" name="Wolke 39">
            <a:extLst>
              <a:ext uri="{FF2B5EF4-FFF2-40B4-BE49-F238E27FC236}">
                <a16:creationId xmlns:a16="http://schemas.microsoft.com/office/drawing/2014/main" id="{4AAE5213-8D40-EC37-8F08-EEB4694BDBD8}"/>
              </a:ext>
            </a:extLst>
          </p:cNvPr>
          <p:cNvSpPr/>
          <p:nvPr/>
        </p:nvSpPr>
        <p:spPr>
          <a:xfrm>
            <a:off x="5165714" y="2094290"/>
            <a:ext cx="1807860" cy="858845"/>
          </a:xfrm>
          <a:prstGeom prst="cloud">
            <a:avLst/>
          </a:prstGeom>
          <a:solidFill>
            <a:srgbClr val="C9D9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dirty="0"/>
              <a:t>Topologie-optimiert</a:t>
            </a:r>
          </a:p>
        </p:txBody>
      </p:sp>
      <p:sp>
        <p:nvSpPr>
          <p:cNvPr id="41" name="Wolke 40">
            <a:extLst>
              <a:ext uri="{FF2B5EF4-FFF2-40B4-BE49-F238E27FC236}">
                <a16:creationId xmlns:a16="http://schemas.microsoft.com/office/drawing/2014/main" id="{61B993F4-C23E-06A6-87E6-6A72FA6CC6B2}"/>
              </a:ext>
            </a:extLst>
          </p:cNvPr>
          <p:cNvSpPr/>
          <p:nvPr/>
        </p:nvSpPr>
        <p:spPr>
          <a:xfrm>
            <a:off x="5284547" y="3669953"/>
            <a:ext cx="1807860" cy="858845"/>
          </a:xfrm>
          <a:prstGeom prst="cloud">
            <a:avLst/>
          </a:prstGeom>
          <a:solidFill>
            <a:srgbClr val="C9D9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dirty="0" err="1"/>
              <a:t>fancy</a:t>
            </a:r>
            <a:endParaRPr lang="de-DE" dirty="0"/>
          </a:p>
        </p:txBody>
      </p:sp>
      <p:sp>
        <p:nvSpPr>
          <p:cNvPr id="42" name="Wolke 41">
            <a:extLst>
              <a:ext uri="{FF2B5EF4-FFF2-40B4-BE49-F238E27FC236}">
                <a16:creationId xmlns:a16="http://schemas.microsoft.com/office/drawing/2014/main" id="{31FFF46B-9235-7361-496B-454E7E0DE400}"/>
              </a:ext>
            </a:extLst>
          </p:cNvPr>
          <p:cNvSpPr/>
          <p:nvPr/>
        </p:nvSpPr>
        <p:spPr>
          <a:xfrm>
            <a:off x="7500645" y="4211233"/>
            <a:ext cx="1807860" cy="858845"/>
          </a:xfrm>
          <a:prstGeom prst="cloud">
            <a:avLst/>
          </a:prstGeom>
          <a:solidFill>
            <a:srgbClr val="C9D9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dirty="0"/>
              <a:t>bionisch</a:t>
            </a:r>
          </a:p>
        </p:txBody>
      </p:sp>
      <p:sp>
        <p:nvSpPr>
          <p:cNvPr id="43" name="Wolke 42">
            <a:extLst>
              <a:ext uri="{FF2B5EF4-FFF2-40B4-BE49-F238E27FC236}">
                <a16:creationId xmlns:a16="http://schemas.microsoft.com/office/drawing/2014/main" id="{EB0A20B2-CF87-2226-4AFE-AB6CD437C9D4}"/>
              </a:ext>
            </a:extLst>
          </p:cNvPr>
          <p:cNvSpPr/>
          <p:nvPr/>
        </p:nvSpPr>
        <p:spPr>
          <a:xfrm>
            <a:off x="5165714" y="4750538"/>
            <a:ext cx="2247610" cy="858845"/>
          </a:xfrm>
          <a:prstGeom prst="cloud">
            <a:avLst/>
          </a:prstGeom>
          <a:solidFill>
            <a:srgbClr val="C9D9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dirty="0" err="1"/>
              <a:t>Complexity</a:t>
            </a:r>
            <a:r>
              <a:rPr lang="de-DE" dirty="0"/>
              <a:t> for </a:t>
            </a:r>
            <a:r>
              <a:rPr lang="de-DE" u="sng" dirty="0" err="1"/>
              <a:t>free</a:t>
            </a:r>
            <a:endParaRPr lang="de-DE" u="sng" dirty="0"/>
          </a:p>
        </p:txBody>
      </p:sp>
      <p:sp>
        <p:nvSpPr>
          <p:cNvPr id="44" name="Wolke 43">
            <a:extLst>
              <a:ext uri="{FF2B5EF4-FFF2-40B4-BE49-F238E27FC236}">
                <a16:creationId xmlns:a16="http://schemas.microsoft.com/office/drawing/2014/main" id="{90D11D59-39B5-B893-3018-DDC10420575C}"/>
              </a:ext>
            </a:extLst>
          </p:cNvPr>
          <p:cNvSpPr/>
          <p:nvPr/>
        </p:nvSpPr>
        <p:spPr>
          <a:xfrm>
            <a:off x="9539117" y="3298012"/>
            <a:ext cx="1807860" cy="858845"/>
          </a:xfrm>
          <a:prstGeom prst="cloud">
            <a:avLst/>
          </a:prstGeom>
          <a:solidFill>
            <a:srgbClr val="C9D9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dirty="0"/>
              <a:t>KI</a:t>
            </a:r>
          </a:p>
        </p:txBody>
      </p:sp>
      <p:sp>
        <p:nvSpPr>
          <p:cNvPr id="45" name="Wolke 44">
            <a:extLst>
              <a:ext uri="{FF2B5EF4-FFF2-40B4-BE49-F238E27FC236}">
                <a16:creationId xmlns:a16="http://schemas.microsoft.com/office/drawing/2014/main" id="{42638592-A260-51BB-99C0-9AA24A497CF6}"/>
              </a:ext>
            </a:extLst>
          </p:cNvPr>
          <p:cNvSpPr/>
          <p:nvPr/>
        </p:nvSpPr>
        <p:spPr>
          <a:xfrm>
            <a:off x="7060895" y="2270816"/>
            <a:ext cx="2247610" cy="858845"/>
          </a:xfrm>
          <a:prstGeom prst="cloud">
            <a:avLst/>
          </a:prstGeom>
          <a:solidFill>
            <a:srgbClr val="C9D9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dirty="0"/>
              <a:t>automatisch</a:t>
            </a:r>
          </a:p>
        </p:txBody>
      </p:sp>
      <p:sp>
        <p:nvSpPr>
          <p:cNvPr id="46" name="Wolke 45">
            <a:extLst>
              <a:ext uri="{FF2B5EF4-FFF2-40B4-BE49-F238E27FC236}">
                <a16:creationId xmlns:a16="http://schemas.microsoft.com/office/drawing/2014/main" id="{05E0D4EF-1443-9CA0-46AB-5FCEA5C94808}"/>
              </a:ext>
            </a:extLst>
          </p:cNvPr>
          <p:cNvSpPr/>
          <p:nvPr/>
        </p:nvSpPr>
        <p:spPr>
          <a:xfrm>
            <a:off x="9347079" y="1880424"/>
            <a:ext cx="2247609" cy="858845"/>
          </a:xfrm>
          <a:prstGeom prst="cloud">
            <a:avLst/>
          </a:prstGeom>
          <a:solidFill>
            <a:srgbClr val="C9D9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dirty="0"/>
              <a:t>Algorithmen</a:t>
            </a:r>
          </a:p>
        </p:txBody>
      </p:sp>
      <p:sp>
        <p:nvSpPr>
          <p:cNvPr id="47" name="Wolke 46">
            <a:extLst>
              <a:ext uri="{FF2B5EF4-FFF2-40B4-BE49-F238E27FC236}">
                <a16:creationId xmlns:a16="http://schemas.microsoft.com/office/drawing/2014/main" id="{BBE8380C-3F89-C8FE-5A7D-CB1328255087}"/>
              </a:ext>
            </a:extLst>
          </p:cNvPr>
          <p:cNvSpPr/>
          <p:nvPr/>
        </p:nvSpPr>
        <p:spPr>
          <a:xfrm>
            <a:off x="7010791" y="3229137"/>
            <a:ext cx="2435057" cy="858845"/>
          </a:xfrm>
          <a:prstGeom prst="cloud">
            <a:avLst/>
          </a:prstGeom>
          <a:solidFill>
            <a:srgbClr val="C9D9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dirty="0"/>
              <a:t>form </a:t>
            </a:r>
            <a:r>
              <a:rPr lang="de-DE" dirty="0" err="1"/>
              <a:t>follows</a:t>
            </a:r>
            <a:r>
              <a:rPr lang="de-DE" dirty="0"/>
              <a:t> </a:t>
            </a:r>
            <a:r>
              <a:rPr lang="de-DE" dirty="0" err="1"/>
              <a:t>function</a:t>
            </a:r>
            <a:endParaRPr lang="de-DE" dirty="0"/>
          </a:p>
        </p:txBody>
      </p:sp>
      <p:sp>
        <p:nvSpPr>
          <p:cNvPr id="48" name="Wolke 47">
            <a:extLst>
              <a:ext uri="{FF2B5EF4-FFF2-40B4-BE49-F238E27FC236}">
                <a16:creationId xmlns:a16="http://schemas.microsoft.com/office/drawing/2014/main" id="{BBCEBE05-D06F-AA1B-B5F6-3ED24638D7EF}"/>
              </a:ext>
            </a:extLst>
          </p:cNvPr>
          <p:cNvSpPr/>
          <p:nvPr/>
        </p:nvSpPr>
        <p:spPr>
          <a:xfrm>
            <a:off x="9273301" y="4577851"/>
            <a:ext cx="2247609" cy="858845"/>
          </a:xfrm>
          <a:prstGeom prst="cloud">
            <a:avLst/>
          </a:prstGeom>
          <a:solidFill>
            <a:srgbClr val="C9D9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u="sng" dirty="0"/>
              <a:t>Rapid</a:t>
            </a:r>
            <a:r>
              <a:rPr lang="de-DE" dirty="0"/>
              <a:t> </a:t>
            </a:r>
            <a:r>
              <a:rPr lang="de-DE" dirty="0" err="1"/>
              <a:t>prototyping</a:t>
            </a:r>
            <a:endParaRPr lang="de-DE" dirty="0"/>
          </a:p>
        </p:txBody>
      </p:sp>
      <p:sp>
        <p:nvSpPr>
          <p:cNvPr id="53" name="Foliennummernplatzhalter 6">
            <a:extLst>
              <a:ext uri="{FF2B5EF4-FFF2-40B4-BE49-F238E27FC236}">
                <a16:creationId xmlns:a16="http://schemas.microsoft.com/office/drawing/2014/main" id="{22649EE5-BCE2-AC4F-4A7C-B14BBF9C99B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</p:spPr>
        <p:txBody>
          <a:bodyPr/>
          <a:lstStyle/>
          <a:p>
            <a:fld id="{8D57957C-F0F3-7842-B0E2-B762F92D6487}" type="slidenum">
              <a:rPr lang="de-DE" b="0" smtClean="0">
                <a:solidFill>
                  <a:schemeClr val="tx1"/>
                </a:solidFill>
              </a:rPr>
              <a:pPr/>
              <a:t>3</a:t>
            </a:fld>
            <a:r>
              <a:rPr lang="de-DE">
                <a:solidFill>
                  <a:schemeClr val="accent1"/>
                </a:solidFill>
              </a:rPr>
              <a:t>  </a:t>
            </a:r>
            <a:r>
              <a:rPr lang="de-DE" b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54" name="Fußzeilenplatzhalter 3">
            <a:extLst>
              <a:ext uri="{FF2B5EF4-FFF2-40B4-BE49-F238E27FC236}">
                <a16:creationId xmlns:a16="http://schemas.microsoft.com/office/drawing/2014/main" id="{67E9B1E7-018C-81F9-0A2D-C1C11E1B228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4113163" cy="305989"/>
          </a:xfrm>
        </p:spPr>
        <p:txBody>
          <a:bodyPr/>
          <a:lstStyle/>
          <a:p>
            <a:r>
              <a:rPr lang="de-DE" dirty="0"/>
              <a:t>Thomas Kieferle | Innovationswerkstatt MT</a:t>
            </a:r>
          </a:p>
        </p:txBody>
      </p:sp>
      <p:sp>
        <p:nvSpPr>
          <p:cNvPr id="55" name="Datumsplatzhalter 5">
            <a:extLst>
              <a:ext uri="{FF2B5EF4-FFF2-40B4-BE49-F238E27FC236}">
                <a16:creationId xmlns:a16="http://schemas.microsoft.com/office/drawing/2014/main" id="{E7FE3D19-14F4-DC28-8FF8-D3479333432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</p:spPr>
        <p:txBody>
          <a:bodyPr/>
          <a:lstStyle/>
          <a:p>
            <a:fld id="{AB19A4FC-76FE-4B52-A6BC-C4A9405F94A9}" type="datetime1">
              <a:rPr lang="de-DE" smtClean="0"/>
              <a:pPr/>
              <a:t>21.04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672375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0" grpId="0" animBg="1"/>
      <p:bldP spid="41" grpId="0" animBg="1"/>
      <p:bldP spid="42" grpId="0" animBg="1"/>
      <p:bldP spid="43" grpId="0" animBg="1"/>
      <p:bldP spid="44" grpId="0" animBg="1"/>
      <p:bldP spid="45" grpId="0" animBg="1"/>
      <p:bldP spid="46" grpId="0" animBg="1"/>
      <p:bldP spid="47" grpId="0" animBg="1"/>
      <p:bldP spid="48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5BBF484-CB4A-4CD0-AE7F-82C41C6DE75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dirty="0"/>
              <a:t>Praktische Umsetzung eines „Wärmetauschers"</a:t>
            </a:r>
          </a:p>
        </p:txBody>
      </p:sp>
      <p:sp>
        <p:nvSpPr>
          <p:cNvPr id="21" name="Inhaltsplatzhalter 20">
            <a:extLst>
              <a:ext uri="{FF2B5EF4-FFF2-40B4-BE49-F238E27FC236}">
                <a16:creationId xmlns:a16="http://schemas.microsoft.com/office/drawing/2014/main" id="{1312119D-A63A-6BE5-2269-ED327F6DEA66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29274A06-BDF5-269C-DBF3-EA0144B7EB2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Erste Erfahrungen - Fehleranfälligkeit &amp; Aufwände entlang der Prozesskette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FAA1E9B-ABD8-F8AC-80AF-DEADE287D3F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D57957C-F0F3-7842-B0E2-B762F92D6487}" type="slidenum">
              <a:rPr lang="de-DE" b="0" smtClean="0">
                <a:solidFill>
                  <a:schemeClr val="tx1"/>
                </a:solidFill>
              </a:rPr>
              <a:pPr/>
              <a:t>4</a:t>
            </a:fld>
            <a:r>
              <a:rPr lang="de-DE">
                <a:solidFill>
                  <a:schemeClr val="accent1"/>
                </a:solidFill>
              </a:rPr>
              <a:t>  </a:t>
            </a:r>
            <a:r>
              <a:rPr lang="de-DE" b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D50310A-7D6F-C66D-E3B5-F63A5183BA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Thomas Kieferle | Innovationswerkstatt MT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5EDA4291-B1C9-B52A-9394-5D34EF3629E9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AB19A4FC-76FE-4B52-A6BC-C4A9405F94A9}" type="datetime1">
              <a:rPr lang="de-DE" smtClean="0"/>
              <a:pPr/>
              <a:t>21.04.2023</a:t>
            </a:fld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A8A3548-B7D6-4B42-A030-86282F95AC37}"/>
              </a:ext>
            </a:extLst>
          </p:cNvPr>
          <p:cNvSpPr>
            <a:spLocks noGrp="1"/>
          </p:cNvSpPr>
          <p:nvPr/>
        </p:nvSpPr>
        <p:spPr>
          <a:xfrm>
            <a:off x="1192359" y="1483200"/>
            <a:ext cx="10342629" cy="318254"/>
          </a:xfrm>
          <a:prstGeom prst="rect">
            <a:avLst/>
          </a:prstGeom>
        </p:spPr>
        <p:txBody>
          <a:bodyPr/>
          <a:lstStyle>
            <a:lvl1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de-DE" sz="2800" b="0" kern="1200" smtClean="0">
                <a:solidFill>
                  <a:schemeClr val="tx2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  <a:lvl2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None/>
              <a:defRPr lang="de-DE" sz="1600" b="0" i="0" kern="12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21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lang="de-DE" sz="1600" b="0" i="0" kern="12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43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lang="de-DE" sz="1600" b="0" i="0" kern="12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648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lang="de-DE"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64000" indent="-216000" algn="l" defTabSz="914355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lang="de-DE" sz="1600" b="0" i="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0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9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1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/>
          </a:p>
        </p:txBody>
      </p:sp>
      <p:sp>
        <p:nvSpPr>
          <p:cNvPr id="8" name="Pfeil: Chevron 7">
            <a:extLst>
              <a:ext uri="{FF2B5EF4-FFF2-40B4-BE49-F238E27FC236}">
                <a16:creationId xmlns:a16="http://schemas.microsoft.com/office/drawing/2014/main" id="{86ADB8DF-8F5E-49C5-B217-D3350A980C52}"/>
              </a:ext>
            </a:extLst>
          </p:cNvPr>
          <p:cNvSpPr/>
          <p:nvPr/>
        </p:nvSpPr>
        <p:spPr bwMode="auto">
          <a:xfrm>
            <a:off x="9852213" y="1880089"/>
            <a:ext cx="1556955" cy="413250"/>
          </a:xfrm>
          <a:prstGeom prst="chevron">
            <a:avLst>
              <a:gd name="adj" fmla="val 18199"/>
            </a:avLst>
          </a:prstGeom>
          <a:solidFill>
            <a:srgbClr val="D0D0D0"/>
          </a:solidFill>
          <a:ln w="1587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vert="horz" wrap="square" lIns="71955" tIns="71955" rIns="35979" bIns="35979" numCol="1" rtlCol="0" anchor="ctr" anchorCtr="0" compatLnSpc="1">
            <a:prstTxWarp prst="textNoShape">
              <a:avLst/>
            </a:prstTxWarp>
          </a:bodyPr>
          <a:lstStyle/>
          <a:p>
            <a:pPr marL="143910" indent="-143910" algn="ctr" defTabSz="1276348">
              <a:spcBef>
                <a:spcPts val="600"/>
              </a:spcBef>
            </a:pPr>
            <a:r>
              <a:rPr lang="de-DE" sz="1467" dirty="0">
                <a:solidFill>
                  <a:schemeClr val="bg2"/>
                </a:solidFill>
                <a:latin typeface="Arial"/>
              </a:rPr>
              <a:t>Nacharbeit</a:t>
            </a:r>
          </a:p>
        </p:txBody>
      </p:sp>
      <p:sp>
        <p:nvSpPr>
          <p:cNvPr id="9" name="Pfeil: Chevron 8">
            <a:extLst>
              <a:ext uri="{FF2B5EF4-FFF2-40B4-BE49-F238E27FC236}">
                <a16:creationId xmlns:a16="http://schemas.microsoft.com/office/drawing/2014/main" id="{E7A20151-F5F1-44B9-9C54-68A2DEDB4F8F}"/>
              </a:ext>
            </a:extLst>
          </p:cNvPr>
          <p:cNvSpPr/>
          <p:nvPr/>
        </p:nvSpPr>
        <p:spPr bwMode="auto">
          <a:xfrm>
            <a:off x="8366285" y="1880089"/>
            <a:ext cx="1556955" cy="413250"/>
          </a:xfrm>
          <a:prstGeom prst="chevron">
            <a:avLst>
              <a:gd name="adj" fmla="val 18199"/>
            </a:avLst>
          </a:prstGeom>
          <a:solidFill>
            <a:srgbClr val="D0D0D0"/>
          </a:solidFill>
          <a:ln w="1587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vert="horz" wrap="square" lIns="71955" tIns="71955" rIns="35979" bIns="35979" numCol="1" rtlCol="0" anchor="ctr" anchorCtr="0" compatLnSpc="1">
            <a:prstTxWarp prst="textNoShape">
              <a:avLst/>
            </a:prstTxWarp>
          </a:bodyPr>
          <a:lstStyle/>
          <a:p>
            <a:pPr marL="143910" indent="-143910" algn="ctr" defTabSz="1276348">
              <a:spcBef>
                <a:spcPts val="600"/>
              </a:spcBef>
            </a:pPr>
            <a:r>
              <a:rPr lang="de-DE" sz="1467" dirty="0">
                <a:solidFill>
                  <a:schemeClr val="bg2"/>
                </a:solidFill>
                <a:latin typeface="Arial"/>
              </a:rPr>
              <a:t>Qualitäts-kontrolle</a:t>
            </a:r>
          </a:p>
        </p:txBody>
      </p:sp>
      <p:sp>
        <p:nvSpPr>
          <p:cNvPr id="10" name="Pfeil: Chevron 9">
            <a:extLst>
              <a:ext uri="{FF2B5EF4-FFF2-40B4-BE49-F238E27FC236}">
                <a16:creationId xmlns:a16="http://schemas.microsoft.com/office/drawing/2014/main" id="{EACC055A-A45D-4394-9D2A-5F6C0ED659FC}"/>
              </a:ext>
            </a:extLst>
          </p:cNvPr>
          <p:cNvSpPr/>
          <p:nvPr/>
        </p:nvSpPr>
        <p:spPr bwMode="auto">
          <a:xfrm>
            <a:off x="6880360" y="1880089"/>
            <a:ext cx="1556955" cy="413250"/>
          </a:xfrm>
          <a:prstGeom prst="chevron">
            <a:avLst>
              <a:gd name="adj" fmla="val 18199"/>
            </a:avLst>
          </a:prstGeom>
          <a:solidFill>
            <a:srgbClr val="D0D0D0"/>
          </a:solidFill>
          <a:ln w="1587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vert="horz" wrap="square" lIns="71955" tIns="71955" rIns="35979" bIns="35979" numCol="1" rtlCol="0" anchor="ctr" anchorCtr="0" compatLnSpc="1">
            <a:prstTxWarp prst="textNoShape">
              <a:avLst/>
            </a:prstTxWarp>
          </a:bodyPr>
          <a:lstStyle/>
          <a:p>
            <a:pPr marL="143910" indent="-143910" algn="ctr" defTabSz="1276348">
              <a:spcBef>
                <a:spcPts val="600"/>
              </a:spcBef>
            </a:pPr>
            <a:r>
              <a:rPr lang="de-DE" sz="1467" dirty="0">
                <a:solidFill>
                  <a:schemeClr val="bg2"/>
                </a:solidFill>
                <a:latin typeface="Arial"/>
              </a:rPr>
              <a:t>Post-Prozess</a:t>
            </a:r>
          </a:p>
        </p:txBody>
      </p:sp>
      <p:sp>
        <p:nvSpPr>
          <p:cNvPr id="11" name="Pfeil: Chevron 10">
            <a:extLst>
              <a:ext uri="{FF2B5EF4-FFF2-40B4-BE49-F238E27FC236}">
                <a16:creationId xmlns:a16="http://schemas.microsoft.com/office/drawing/2014/main" id="{C30FE3BB-4181-4D0F-8E2F-159B32CC7EE0}"/>
              </a:ext>
            </a:extLst>
          </p:cNvPr>
          <p:cNvSpPr/>
          <p:nvPr/>
        </p:nvSpPr>
        <p:spPr bwMode="auto">
          <a:xfrm>
            <a:off x="5394434" y="1880089"/>
            <a:ext cx="1556955" cy="413250"/>
          </a:xfrm>
          <a:prstGeom prst="chevron">
            <a:avLst>
              <a:gd name="adj" fmla="val 18199"/>
            </a:avLst>
          </a:prstGeom>
          <a:solidFill>
            <a:srgbClr val="D0D0D0"/>
          </a:solidFill>
          <a:ln w="1587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vert="horz" wrap="square" lIns="71955" tIns="71955" rIns="35979" bIns="35979" numCol="1" rtlCol="0" anchor="ctr" anchorCtr="0" compatLnSpc="1">
            <a:prstTxWarp prst="textNoShape">
              <a:avLst/>
            </a:prstTxWarp>
          </a:bodyPr>
          <a:lstStyle/>
          <a:p>
            <a:pPr marL="143910" indent="-143910" algn="ctr" defTabSz="1276348">
              <a:spcBef>
                <a:spcPts val="600"/>
              </a:spcBef>
            </a:pPr>
            <a:r>
              <a:rPr lang="de-DE" sz="1467" dirty="0">
                <a:solidFill>
                  <a:schemeClr val="bg2"/>
                </a:solidFill>
                <a:latin typeface="Arial"/>
              </a:rPr>
              <a:t>LMF - Prozess</a:t>
            </a:r>
          </a:p>
        </p:txBody>
      </p:sp>
      <p:sp>
        <p:nvSpPr>
          <p:cNvPr id="12" name="Pfeil: Chevron 11">
            <a:extLst>
              <a:ext uri="{FF2B5EF4-FFF2-40B4-BE49-F238E27FC236}">
                <a16:creationId xmlns:a16="http://schemas.microsoft.com/office/drawing/2014/main" id="{AA1F2A93-D566-45B9-8BA4-EC4425F22C9E}"/>
              </a:ext>
            </a:extLst>
          </p:cNvPr>
          <p:cNvSpPr/>
          <p:nvPr/>
        </p:nvSpPr>
        <p:spPr bwMode="auto">
          <a:xfrm>
            <a:off x="3908509" y="1880089"/>
            <a:ext cx="1556955" cy="413250"/>
          </a:xfrm>
          <a:prstGeom prst="chevron">
            <a:avLst>
              <a:gd name="adj" fmla="val 18199"/>
            </a:avLst>
          </a:prstGeom>
          <a:solidFill>
            <a:srgbClr val="D0D0D0"/>
          </a:solidFill>
          <a:ln w="1587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vert="horz" wrap="square" lIns="71955" tIns="71955" rIns="35979" bIns="35979" numCol="1" rtlCol="0" anchor="ctr" anchorCtr="0" compatLnSpc="1">
            <a:prstTxWarp prst="textNoShape">
              <a:avLst/>
            </a:prstTxWarp>
          </a:bodyPr>
          <a:lstStyle/>
          <a:p>
            <a:pPr marL="143910" indent="-143910" algn="ctr" defTabSz="1276348">
              <a:spcBef>
                <a:spcPts val="600"/>
              </a:spcBef>
            </a:pPr>
            <a:r>
              <a:rPr lang="de-DE" sz="1467" dirty="0" err="1">
                <a:solidFill>
                  <a:schemeClr val="bg2"/>
                </a:solidFill>
                <a:latin typeface="Arial"/>
              </a:rPr>
              <a:t>Pre</a:t>
            </a:r>
            <a:r>
              <a:rPr lang="de-DE" sz="1467" dirty="0">
                <a:solidFill>
                  <a:schemeClr val="bg2"/>
                </a:solidFill>
                <a:latin typeface="Arial"/>
              </a:rPr>
              <a:t>-Prozess</a:t>
            </a:r>
          </a:p>
        </p:txBody>
      </p:sp>
      <p:sp>
        <p:nvSpPr>
          <p:cNvPr id="13" name="Pfeil: Chevron 12">
            <a:extLst>
              <a:ext uri="{FF2B5EF4-FFF2-40B4-BE49-F238E27FC236}">
                <a16:creationId xmlns:a16="http://schemas.microsoft.com/office/drawing/2014/main" id="{D3EC2622-9DE7-4C8A-9389-888929402FA9}"/>
              </a:ext>
            </a:extLst>
          </p:cNvPr>
          <p:cNvSpPr/>
          <p:nvPr/>
        </p:nvSpPr>
        <p:spPr bwMode="auto">
          <a:xfrm>
            <a:off x="2422583" y="1880089"/>
            <a:ext cx="1556955" cy="413250"/>
          </a:xfrm>
          <a:prstGeom prst="chevron">
            <a:avLst>
              <a:gd name="adj" fmla="val 18199"/>
            </a:avLst>
          </a:prstGeom>
          <a:solidFill>
            <a:srgbClr val="D0D0D0"/>
          </a:solidFill>
          <a:ln w="1587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vert="horz" wrap="square" lIns="71955" tIns="71955" rIns="35979" bIns="35979" numCol="1" rtlCol="0" anchor="ctr" anchorCtr="0" compatLnSpc="1">
            <a:prstTxWarp prst="textNoShape">
              <a:avLst/>
            </a:prstTxWarp>
          </a:bodyPr>
          <a:lstStyle/>
          <a:p>
            <a:pPr marL="143910" indent="-143910" algn="ctr" defTabSz="1276348">
              <a:spcBef>
                <a:spcPts val="600"/>
              </a:spcBef>
            </a:pPr>
            <a:r>
              <a:rPr lang="de-DE" sz="1467" dirty="0">
                <a:solidFill>
                  <a:schemeClr val="bg2"/>
                </a:solidFill>
                <a:latin typeface="Arial"/>
              </a:rPr>
              <a:t>Design</a:t>
            </a:r>
          </a:p>
        </p:txBody>
      </p:sp>
      <p:sp>
        <p:nvSpPr>
          <p:cNvPr id="14" name="Pfeil: Chevron 13">
            <a:extLst>
              <a:ext uri="{FF2B5EF4-FFF2-40B4-BE49-F238E27FC236}">
                <a16:creationId xmlns:a16="http://schemas.microsoft.com/office/drawing/2014/main" id="{200555E2-6986-4842-92B7-50133FF4E59A}"/>
              </a:ext>
            </a:extLst>
          </p:cNvPr>
          <p:cNvSpPr/>
          <p:nvPr/>
        </p:nvSpPr>
        <p:spPr bwMode="auto">
          <a:xfrm>
            <a:off x="936656" y="1880089"/>
            <a:ext cx="1556955" cy="413250"/>
          </a:xfrm>
          <a:prstGeom prst="chevron">
            <a:avLst>
              <a:gd name="adj" fmla="val 18199"/>
            </a:avLst>
          </a:prstGeom>
          <a:solidFill>
            <a:srgbClr val="D0D0D0"/>
          </a:solidFill>
          <a:ln w="1587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vert="horz" wrap="square" lIns="71955" tIns="71955" rIns="35979" bIns="35979" numCol="1" rtlCol="0" anchor="ctr" anchorCtr="0" compatLnSpc="1">
            <a:prstTxWarp prst="textNoShape">
              <a:avLst/>
            </a:prstTxWarp>
          </a:bodyPr>
          <a:lstStyle/>
          <a:p>
            <a:pPr marL="143910" indent="-143910" algn="ctr" defTabSz="1276348">
              <a:spcBef>
                <a:spcPts val="600"/>
              </a:spcBef>
            </a:pPr>
            <a:r>
              <a:rPr lang="de-DE" sz="1467" dirty="0">
                <a:solidFill>
                  <a:schemeClr val="bg2"/>
                </a:solidFill>
                <a:latin typeface="Arial"/>
              </a:rPr>
              <a:t>Idee/Bauteil</a:t>
            </a:r>
          </a:p>
        </p:txBody>
      </p:sp>
      <p:pic>
        <p:nvPicPr>
          <p:cNvPr id="8194" name="Picture 2">
            <a:extLst>
              <a:ext uri="{FF2B5EF4-FFF2-40B4-BE49-F238E27FC236}">
                <a16:creationId xmlns:a16="http://schemas.microsoft.com/office/drawing/2014/main" id="{96C1BA79-E0D0-48C0-9E58-CD1DF4344F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35653" y="2643010"/>
            <a:ext cx="2384522" cy="31793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Wolke 18">
            <a:extLst>
              <a:ext uri="{FF2B5EF4-FFF2-40B4-BE49-F238E27FC236}">
                <a16:creationId xmlns:a16="http://schemas.microsoft.com/office/drawing/2014/main" id="{18B0D29B-621F-4171-AE68-6D6E442A1E6F}"/>
              </a:ext>
            </a:extLst>
          </p:cNvPr>
          <p:cNvSpPr/>
          <p:nvPr/>
        </p:nvSpPr>
        <p:spPr>
          <a:xfrm>
            <a:off x="528659" y="2746639"/>
            <a:ext cx="2336003" cy="840407"/>
          </a:xfrm>
          <a:prstGeom prst="cloud">
            <a:avLst/>
          </a:prstGeom>
          <a:solidFill>
            <a:srgbClr val="F187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dirty="0"/>
              <a:t>AM ist doch „voll digital“</a:t>
            </a:r>
          </a:p>
        </p:txBody>
      </p:sp>
      <p:sp>
        <p:nvSpPr>
          <p:cNvPr id="20" name="Wolke 19">
            <a:extLst>
              <a:ext uri="{FF2B5EF4-FFF2-40B4-BE49-F238E27FC236}">
                <a16:creationId xmlns:a16="http://schemas.microsoft.com/office/drawing/2014/main" id="{A845B674-5BE4-4021-9F73-B4A3C90B4057}"/>
              </a:ext>
            </a:extLst>
          </p:cNvPr>
          <p:cNvSpPr/>
          <p:nvPr/>
        </p:nvSpPr>
        <p:spPr>
          <a:xfrm>
            <a:off x="495233" y="4804640"/>
            <a:ext cx="2397006" cy="1194671"/>
          </a:xfrm>
          <a:prstGeom prst="cloud">
            <a:avLst/>
          </a:prstGeom>
          <a:solidFill>
            <a:srgbClr val="F187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dirty="0"/>
              <a:t>Wer braucht heute noch Zeichnungen? 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DB875827-1E52-42F8-A7B2-39ACFF04E24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32851" y="2635161"/>
            <a:ext cx="2267286" cy="3196448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0FEA0AF6-7F5F-4C02-A31E-2A2B937B993B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0259" t="12929" r="6551" b="17792"/>
          <a:stretch/>
        </p:blipFill>
        <p:spPr>
          <a:xfrm rot="5400000">
            <a:off x="9835997" y="2653467"/>
            <a:ext cx="1861581" cy="1818550"/>
          </a:xfrm>
          <a:prstGeom prst="rect">
            <a:avLst/>
          </a:prstGeom>
        </p:spPr>
      </p:pic>
      <p:pic>
        <p:nvPicPr>
          <p:cNvPr id="22" name="Grafik 21" descr="Trauriges Gesicht ohne Füllung">
            <a:extLst>
              <a:ext uri="{FF2B5EF4-FFF2-40B4-BE49-F238E27FC236}">
                <a16:creationId xmlns:a16="http://schemas.microsoft.com/office/drawing/2014/main" id="{5DAFA47C-4FF1-4ACD-8164-628E8360623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133486" y="4555927"/>
            <a:ext cx="1275682" cy="1275682"/>
          </a:xfrm>
          <a:prstGeom prst="rect">
            <a:avLst/>
          </a:prstGeom>
        </p:spPr>
      </p:pic>
      <p:pic>
        <p:nvPicPr>
          <p:cNvPr id="26" name="Inhaltsplatzhalter 11">
            <a:extLst>
              <a:ext uri="{FF2B5EF4-FFF2-40B4-BE49-F238E27FC236}">
                <a16:creationId xmlns:a16="http://schemas.microsoft.com/office/drawing/2014/main" id="{AFD4F040-DB57-4E2D-852A-61272404B58D}"/>
              </a:ext>
            </a:extLst>
          </p:cNvPr>
          <p:cNvPicPr>
            <a:picLocks noGrp="1" noChangeAspect="1"/>
          </p:cNvPicPr>
          <p:nvPr/>
        </p:nvPicPr>
        <p:blipFill rotWithShape="1">
          <a:blip r:embed="rId8" cstate="print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180" r="14539"/>
          <a:stretch/>
        </p:blipFill>
        <p:spPr>
          <a:xfrm rot="3838442">
            <a:off x="1015219" y="2533116"/>
            <a:ext cx="1006161" cy="3182199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C7DC3067-B79F-9AE2-0C2E-21D17A4C54E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20938" y="2635161"/>
            <a:ext cx="2267286" cy="3196448"/>
          </a:xfrm>
          <a:prstGeom prst="rect">
            <a:avLst/>
          </a:prstGeom>
        </p:spPr>
      </p:pic>
      <p:pic>
        <p:nvPicPr>
          <p:cNvPr id="18" name="Picture 4">
            <a:extLst>
              <a:ext uri="{FF2B5EF4-FFF2-40B4-BE49-F238E27FC236}">
                <a16:creationId xmlns:a16="http://schemas.microsoft.com/office/drawing/2014/main" id="{886952CE-52B7-F2E5-F9BF-8757656E1C4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4755" b="21656"/>
          <a:stretch/>
        </p:blipFill>
        <p:spPr bwMode="auto">
          <a:xfrm>
            <a:off x="5263110" y="2631951"/>
            <a:ext cx="2085744" cy="31793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Wolke 23">
            <a:extLst>
              <a:ext uri="{FF2B5EF4-FFF2-40B4-BE49-F238E27FC236}">
                <a16:creationId xmlns:a16="http://schemas.microsoft.com/office/drawing/2014/main" id="{857F605D-6924-B9D8-A8A0-5643025A4217}"/>
              </a:ext>
            </a:extLst>
          </p:cNvPr>
          <p:cNvSpPr/>
          <p:nvPr/>
        </p:nvSpPr>
        <p:spPr>
          <a:xfrm>
            <a:off x="529524" y="2734856"/>
            <a:ext cx="2336003" cy="840407"/>
          </a:xfrm>
          <a:prstGeom prst="cloud">
            <a:avLst/>
          </a:prstGeom>
          <a:solidFill>
            <a:srgbClr val="C9D9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dirty="0"/>
              <a:t>AM ist doch „voll digital“</a:t>
            </a:r>
          </a:p>
        </p:txBody>
      </p:sp>
      <p:sp>
        <p:nvSpPr>
          <p:cNvPr id="25" name="Wolke 24">
            <a:extLst>
              <a:ext uri="{FF2B5EF4-FFF2-40B4-BE49-F238E27FC236}">
                <a16:creationId xmlns:a16="http://schemas.microsoft.com/office/drawing/2014/main" id="{021A4BF6-79BD-30BE-F8D9-AEBE3034F6A0}"/>
              </a:ext>
            </a:extLst>
          </p:cNvPr>
          <p:cNvSpPr/>
          <p:nvPr/>
        </p:nvSpPr>
        <p:spPr>
          <a:xfrm>
            <a:off x="496098" y="4792857"/>
            <a:ext cx="2397006" cy="1194671"/>
          </a:xfrm>
          <a:prstGeom prst="cloud">
            <a:avLst/>
          </a:prstGeom>
          <a:solidFill>
            <a:srgbClr val="C9D9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dirty="0"/>
              <a:t>Wer braucht heute noch Zeichnungen? </a:t>
            </a:r>
          </a:p>
        </p:txBody>
      </p:sp>
    </p:spTree>
    <p:extLst>
      <p:ext uri="{BB962C8B-B14F-4D97-AF65-F5344CB8AC3E}">
        <p14:creationId xmlns:p14="http://schemas.microsoft.com/office/powerpoint/2010/main" val="30832603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D62BF4E2-26C3-4841-329A-2C5C75A025AE}"/>
              </a:ext>
            </a:extLst>
          </p:cNvPr>
          <p:cNvSpPr>
            <a:spLocks noGrp="1"/>
          </p:cNvSpPr>
          <p:nvPr/>
        </p:nvSpPr>
        <p:spPr>
          <a:xfrm>
            <a:off x="0" y="0"/>
            <a:ext cx="5914800" cy="6858000"/>
          </a:xfrm>
          <a:prstGeom prst="rect">
            <a:avLst/>
          </a:prstGeom>
        </p:spPr>
      </p:sp>
      <p:sp>
        <p:nvSpPr>
          <p:cNvPr id="6" name="Untertitel 5">
            <a:extLst>
              <a:ext uri="{FF2B5EF4-FFF2-40B4-BE49-F238E27FC236}">
                <a16:creationId xmlns:a16="http://schemas.microsoft.com/office/drawing/2014/main" id="{195BB69C-C7DC-AADD-067B-5DB70EBFACB4}"/>
              </a:ext>
            </a:extLst>
          </p:cNvPr>
          <p:cNvSpPr>
            <a:spLocks noGrp="1"/>
          </p:cNvSpPr>
          <p:nvPr/>
        </p:nvSpPr>
        <p:spPr>
          <a:xfrm>
            <a:off x="6276063" y="1495948"/>
            <a:ext cx="1005184" cy="215444"/>
          </a:xfrm>
          <a:prstGeom prst="rect">
            <a:avLst/>
          </a:prstGeom>
        </p:spPr>
        <p:txBody>
          <a:bodyPr/>
          <a:lstStyle>
            <a:lvl1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de-DE" sz="14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77" indent="0" algn="ctr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None/>
              <a:defRPr sz="20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914355" indent="0" algn="ctr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371532" indent="0" algn="ctr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None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828709" indent="0" algn="ctr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None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285886" indent="0" algn="ctr" defTabSz="914355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None/>
              <a:defRPr lang="de-DE"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2743063" indent="0" algn="ctr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indent="0" algn="ctr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7" indent="0" algn="ctr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/>
          </a:p>
        </p:txBody>
      </p:sp>
      <p:pic>
        <p:nvPicPr>
          <p:cNvPr id="32" name="Additive LMD" descr="Ein Bild, das Meeresgrund enthält.&#10;&#10;Automatisch generierte Beschreibung">
            <a:extLst>
              <a:ext uri="{FF2B5EF4-FFF2-40B4-BE49-F238E27FC236}">
                <a16:creationId xmlns:a16="http://schemas.microsoft.com/office/drawing/2014/main" id="{9E68CB20-8978-7AF4-5D40-732598D03F82}"/>
              </a:ext>
            </a:extLst>
          </p:cNvPr>
          <p:cNvPicPr>
            <a:picLocks noGrp="1" noChangeAspect="1"/>
          </p:cNvPicPr>
          <p:nvPr>
            <p:ph type="pic" sz="quarter" idx="11"/>
            <p:custDataLst>
              <p:tags r:id="rId1"/>
            </p:custDataLst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959" r="20959"/>
          <a:stretch>
            <a:fillRect/>
          </a:stretch>
        </p:blipFill>
        <p:spPr>
          <a:xfrm>
            <a:off x="0" y="0"/>
            <a:ext cx="5915025" cy="6858000"/>
          </a:xfrm>
          <a:prstGeom prst="rect">
            <a:avLst/>
          </a:prstGeom>
        </p:spPr>
      </p:pic>
      <p:sp>
        <p:nvSpPr>
          <p:cNvPr id="10" name="Untertitel 9">
            <a:extLst>
              <a:ext uri="{FF2B5EF4-FFF2-40B4-BE49-F238E27FC236}">
                <a16:creationId xmlns:a16="http://schemas.microsoft.com/office/drawing/2014/main" id="{FB3C856E-C9F0-172D-E32C-7F3F9031C9A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BE73BC0-C76D-41AE-8790-1746CD3812D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/>
        <p:txBody>
          <a:bodyPr/>
          <a:lstStyle/>
          <a:p>
            <a:r>
              <a:rPr dirty="0"/>
              <a:t>Etablierung von Additive Manufacturing am Beispiel TRUMPF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8B8F722E-862E-3E3B-83FA-C40EAA83A06C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dirty="0"/>
              <a:t>Thomas Kieferle | Innovationswerkstatt MT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99F4C64-854A-EE16-C6C6-79CBAA27CA44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0" y="6359525"/>
            <a:ext cx="639763" cy="306388"/>
          </a:xfrm>
        </p:spPr>
        <p:txBody>
          <a:bodyPr/>
          <a:lstStyle/>
          <a:p>
            <a:fld id="{AB19A4FC-76FE-4B52-A6BC-C4A9405F94A9}" type="datetime1">
              <a:rPr lang="de-DE" smtClean="0"/>
              <a:pPr/>
              <a:t>21.04.2023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AD86C8B-F3FE-ACF5-B333-88F3AC94CA7F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0" y="6356350"/>
            <a:ext cx="431800" cy="306388"/>
          </a:xfrm>
        </p:spPr>
        <p:txBody>
          <a:bodyPr/>
          <a:lstStyle/>
          <a:p>
            <a:fld id="{8D57957C-F0F3-7842-B0E2-B762F92D6487}" type="slidenum">
              <a:rPr lang="de-DE" b="0" smtClean="0">
                <a:solidFill>
                  <a:schemeClr val="tx1"/>
                </a:solidFill>
              </a:rPr>
              <a:pPr/>
              <a:t>5</a:t>
            </a:fld>
            <a:r>
              <a:rPr lang="de-DE">
                <a:solidFill>
                  <a:schemeClr val="accent1"/>
                </a:solidFill>
              </a:rPr>
              <a:t>  </a:t>
            </a:r>
            <a:r>
              <a:rPr lang="de-DE" b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669111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F225C347-A16C-40DE-B87F-8A09B32FA907}"/>
              </a:ext>
            </a:extLst>
          </p:cNvPr>
          <p:cNvSpPr/>
          <p:nvPr/>
        </p:nvSpPr>
        <p:spPr>
          <a:xfrm>
            <a:off x="4860626" y="2434667"/>
            <a:ext cx="2621376" cy="2930008"/>
          </a:xfrm>
          <a:prstGeom prst="rect">
            <a:avLst/>
          </a:prstGeom>
          <a:solidFill>
            <a:srgbClr val="EEF3CE"/>
          </a:solidFill>
          <a:ln w="19050">
            <a:solidFill>
              <a:schemeClr val="accent5"/>
            </a:solidFill>
          </a:ln>
          <a:effectLst>
            <a:outerShdw blurRad="50800" dist="38100" dir="2700000" algn="tl" rotWithShape="0">
              <a:schemeClr val="accent5">
                <a:lumMod val="60000"/>
                <a:lumOff val="4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algn="ctr"/>
            <a:r>
              <a:rPr lang="de-DE" sz="1600" b="1" dirty="0">
                <a:solidFill>
                  <a:schemeClr val="tx1"/>
                </a:solidFill>
              </a:rPr>
              <a:t>Prototypen &amp;</a:t>
            </a:r>
          </a:p>
          <a:p>
            <a:pPr algn="ctr"/>
            <a:r>
              <a:rPr lang="de-DE" sz="1600" b="1" dirty="0">
                <a:solidFill>
                  <a:schemeClr val="tx1"/>
                </a:solidFill>
              </a:rPr>
              <a:t>Serienproduktion</a:t>
            </a:r>
          </a:p>
        </p:txBody>
      </p:sp>
      <p:sp>
        <p:nvSpPr>
          <p:cNvPr id="30" name="Pfeil: Fünfeck 29">
            <a:extLst>
              <a:ext uri="{FF2B5EF4-FFF2-40B4-BE49-F238E27FC236}">
                <a16:creationId xmlns:a16="http://schemas.microsoft.com/office/drawing/2014/main" id="{9897232D-2B05-4E4F-9D71-2B73D3306AF6}"/>
              </a:ext>
            </a:extLst>
          </p:cNvPr>
          <p:cNvSpPr/>
          <p:nvPr/>
        </p:nvSpPr>
        <p:spPr>
          <a:xfrm rot="16200000">
            <a:off x="7580104" y="1843567"/>
            <a:ext cx="4567998" cy="3857944"/>
          </a:xfrm>
          <a:prstGeom prst="homePlate">
            <a:avLst>
              <a:gd name="adj" fmla="val 23235"/>
            </a:avLst>
          </a:prstGeom>
          <a:solidFill>
            <a:schemeClr val="bg2"/>
          </a:solidFill>
          <a:ln w="19050">
            <a:solidFill>
              <a:schemeClr val="accent3"/>
            </a:solidFill>
          </a:ln>
          <a:effectLst>
            <a:outerShdw blurRad="50800" dist="38100" dir="2700000" algn="tl" rotWithShape="0">
              <a:schemeClr val="accent3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72000" tIns="72000" rIns="72000" bIns="72000" rtlCol="0" anchor="t"/>
          <a:lstStyle/>
          <a:p>
            <a:pPr marL="285750" indent="-285750">
              <a:buFont typeface="Wingdings" panose="05000000000000000000" pitchFamily="2" charset="2"/>
              <a:buChar char="§"/>
            </a:pPr>
            <a:endParaRPr lang="de-DE" sz="1200" b="1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DE" sz="1200" b="1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DE" sz="1200" b="1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DE" sz="1200" b="1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DE" sz="1200" b="1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DE" sz="1200" b="1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DE" sz="1200" b="1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DE" sz="1200" b="1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DE" sz="1200" b="1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200" b="1" dirty="0">
                <a:solidFill>
                  <a:schemeClr val="tx1"/>
                </a:solidFill>
              </a:rPr>
              <a:t>Beratung</a:t>
            </a:r>
            <a:r>
              <a:rPr lang="de-DE" sz="1200" dirty="0">
                <a:solidFill>
                  <a:schemeClr val="tx1"/>
                </a:solidFill>
              </a:rPr>
              <a:t> einzelner </a:t>
            </a:r>
            <a:r>
              <a:rPr lang="de-DE" sz="1200" b="1" dirty="0">
                <a:solidFill>
                  <a:schemeClr val="tx1"/>
                </a:solidFill>
              </a:rPr>
              <a:t>Serienteilprojekte</a:t>
            </a:r>
            <a:r>
              <a:rPr lang="de-DE" sz="1200" dirty="0">
                <a:solidFill>
                  <a:schemeClr val="tx1"/>
                </a:solidFill>
              </a:rPr>
              <a:t> </a:t>
            </a:r>
          </a:p>
          <a:p>
            <a:endParaRPr lang="de-DE" sz="1200" b="1" dirty="0">
              <a:solidFill>
                <a:schemeClr val="tx1"/>
              </a:solidFill>
            </a:endParaRPr>
          </a:p>
          <a:p>
            <a:endParaRPr lang="de-DE" sz="1200" b="1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200" b="1" dirty="0">
                <a:solidFill>
                  <a:schemeClr val="tx1"/>
                </a:solidFill>
              </a:rPr>
              <a:t>Einrichten</a:t>
            </a:r>
            <a:r>
              <a:rPr lang="de-DE" sz="1200" dirty="0">
                <a:solidFill>
                  <a:schemeClr val="tx1"/>
                </a:solidFill>
              </a:rPr>
              <a:t> von </a:t>
            </a:r>
            <a:r>
              <a:rPr lang="de-DE" sz="1200" b="1" dirty="0">
                <a:solidFill>
                  <a:schemeClr val="tx1"/>
                </a:solidFill>
              </a:rPr>
              <a:t>Schulungen</a:t>
            </a:r>
            <a:r>
              <a:rPr lang="de-DE" sz="1200" dirty="0">
                <a:solidFill>
                  <a:schemeClr val="tx1"/>
                </a:solidFill>
              </a:rPr>
              <a:t> zur Ausbildung von </a:t>
            </a:r>
            <a:r>
              <a:rPr lang="de-DE" sz="1200" b="1" dirty="0">
                <a:solidFill>
                  <a:schemeClr val="tx1"/>
                </a:solidFill>
              </a:rPr>
              <a:t>Ingenieuren</a:t>
            </a:r>
            <a:r>
              <a:rPr lang="de-DE" sz="1200" dirty="0">
                <a:solidFill>
                  <a:schemeClr val="tx1"/>
                </a:solidFill>
              </a:rPr>
              <a:t> und </a:t>
            </a:r>
            <a:r>
              <a:rPr lang="de-DE" sz="1200" b="1" dirty="0">
                <a:solidFill>
                  <a:schemeClr val="tx1"/>
                </a:solidFill>
              </a:rPr>
              <a:t>Identifizierung</a:t>
            </a:r>
            <a:r>
              <a:rPr lang="de-DE" sz="1200" dirty="0">
                <a:solidFill>
                  <a:schemeClr val="tx1"/>
                </a:solidFill>
              </a:rPr>
              <a:t> geeigneter Teile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DE" sz="1200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DE" sz="1200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200" b="1" dirty="0">
                <a:solidFill>
                  <a:schemeClr val="tx1"/>
                </a:solidFill>
              </a:rPr>
              <a:t>Einbeziehung</a:t>
            </a:r>
            <a:r>
              <a:rPr lang="de-DE" sz="1200" dirty="0">
                <a:solidFill>
                  <a:schemeClr val="tx1"/>
                </a:solidFill>
              </a:rPr>
              <a:t> der </a:t>
            </a:r>
            <a:r>
              <a:rPr lang="de-DE" sz="1200" b="1" dirty="0">
                <a:solidFill>
                  <a:schemeClr val="tx1"/>
                </a:solidFill>
              </a:rPr>
              <a:t>Ingenieure</a:t>
            </a:r>
            <a:r>
              <a:rPr lang="de-DE" sz="1200" dirty="0">
                <a:solidFill>
                  <a:schemeClr val="tx1"/>
                </a:solidFill>
              </a:rPr>
              <a:t> in die Umsetzung von AM – </a:t>
            </a:r>
            <a:r>
              <a:rPr lang="de-DE" sz="1200" b="1" dirty="0">
                <a:solidFill>
                  <a:schemeClr val="tx1"/>
                </a:solidFill>
              </a:rPr>
              <a:t>Akzeptanz</a:t>
            </a:r>
            <a:r>
              <a:rPr lang="de-DE" sz="1200" dirty="0">
                <a:solidFill>
                  <a:schemeClr val="tx1"/>
                </a:solidFill>
              </a:rPr>
              <a:t> und </a:t>
            </a:r>
            <a:r>
              <a:rPr lang="de-DE" sz="1200" b="1" dirty="0">
                <a:solidFill>
                  <a:schemeClr val="tx1"/>
                </a:solidFill>
              </a:rPr>
              <a:t>Enthusiasmus</a:t>
            </a:r>
            <a:r>
              <a:rPr lang="de-DE" sz="1200" dirty="0">
                <a:solidFill>
                  <a:schemeClr val="tx1"/>
                </a:solidFill>
              </a:rPr>
              <a:t> wecken</a:t>
            </a:r>
          </a:p>
          <a:p>
            <a:endParaRPr lang="de-DE" sz="1200" b="1" dirty="0">
              <a:solidFill>
                <a:schemeClr val="tx1"/>
              </a:solidFill>
            </a:endParaRPr>
          </a:p>
          <a:p>
            <a:endParaRPr lang="de-DE" sz="1200" b="1" dirty="0">
              <a:solidFill>
                <a:schemeClr val="tx1"/>
              </a:solidFill>
            </a:endParaRPr>
          </a:p>
          <a:p>
            <a:pPr algn="ctr"/>
            <a:r>
              <a:rPr lang="de-DE" b="1" dirty="0">
                <a:solidFill>
                  <a:schemeClr val="accent3"/>
                </a:solidFill>
              </a:rPr>
              <a:t>BOTTOM UP</a:t>
            </a:r>
          </a:p>
          <a:p>
            <a:pPr algn="ctr"/>
            <a:endParaRPr lang="de-DE" dirty="0" err="1"/>
          </a:p>
        </p:txBody>
      </p:sp>
      <p:sp>
        <p:nvSpPr>
          <p:cNvPr id="19" name="Pfeil: Fünfeck 18">
            <a:extLst>
              <a:ext uri="{FF2B5EF4-FFF2-40B4-BE49-F238E27FC236}">
                <a16:creationId xmlns:a16="http://schemas.microsoft.com/office/drawing/2014/main" id="{CE5DEA89-5B4F-43E9-BFF0-D52A27AEAE8E}"/>
              </a:ext>
            </a:extLst>
          </p:cNvPr>
          <p:cNvSpPr/>
          <p:nvPr/>
        </p:nvSpPr>
        <p:spPr>
          <a:xfrm rot="5400000">
            <a:off x="409702" y="2046024"/>
            <a:ext cx="4163083" cy="3857944"/>
          </a:xfrm>
          <a:prstGeom prst="homePlate">
            <a:avLst>
              <a:gd name="adj" fmla="val 23235"/>
            </a:avLst>
          </a:prstGeom>
          <a:solidFill>
            <a:schemeClr val="bg2"/>
          </a:solidFill>
          <a:ln w="19050">
            <a:solidFill>
              <a:schemeClr val="accent3"/>
            </a:solidFill>
          </a:ln>
          <a:effectLst>
            <a:outerShdw blurRad="50800" dist="38100" dir="2700000" algn="tl" rotWithShape="0">
              <a:schemeClr val="accent3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72000" tIns="72000" rIns="72000" bIns="72000" rtlCol="0" anchor="t"/>
          <a:lstStyle/>
          <a:p>
            <a:pPr marL="285750" indent="-285750" algn="ctr">
              <a:buFont typeface="Wingdings" panose="05000000000000000000" pitchFamily="2" charset="2"/>
              <a:buChar char="§"/>
            </a:pPr>
            <a:endParaRPr lang="de-DE" sz="1200" b="1" dirty="0">
              <a:solidFill>
                <a:schemeClr val="tx1"/>
              </a:solidFill>
            </a:endParaRPr>
          </a:p>
          <a:p>
            <a:pPr algn="ctr"/>
            <a:r>
              <a:rPr lang="de-DE" b="1" dirty="0">
                <a:solidFill>
                  <a:schemeClr val="tx2"/>
                </a:solidFill>
              </a:rPr>
              <a:t>TOP DOW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DE" sz="1200" b="1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DE" sz="1200" b="1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200" b="1" dirty="0">
                <a:solidFill>
                  <a:schemeClr val="tx1"/>
                </a:solidFill>
              </a:rPr>
              <a:t>Einbeziehung der Führungskräfte in den Prozess der Implementierung von AM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DE" sz="1200" b="1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DE" sz="1200" b="1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200" dirty="0">
                <a:solidFill>
                  <a:schemeClr val="tx1"/>
                </a:solidFill>
              </a:rPr>
              <a:t>Akzeptanz und Enthusiasmus für AM auf der Managementebene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DE" sz="1200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DE" sz="1200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200" b="1" dirty="0">
                <a:solidFill>
                  <a:schemeClr val="tx1"/>
                </a:solidFill>
              </a:rPr>
              <a:t>Brief von unserem CTO an alle Chefingenieure mit der Bitte, geeignete Teile für AM zu identifiziere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DE" sz="1200" dirty="0">
              <a:solidFill>
                <a:schemeClr val="tx1"/>
              </a:solidFill>
            </a:endParaRPr>
          </a:p>
          <a:p>
            <a:pPr algn="ctr"/>
            <a:endParaRPr lang="de-DE" b="1" dirty="0"/>
          </a:p>
          <a:p>
            <a:pPr algn="ctr"/>
            <a:endParaRPr lang="de-DE" dirty="0" err="1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8FBBFE5-8D2C-46A0-BE6F-B6BBB6CC23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dirty="0"/>
              <a:t>Ansatz für die Implementierung von AM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7D597D06-2D60-F7D5-E0DE-5A1FE792FD88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D4725F2-D7F8-FFE7-7F29-FA762D97D3E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Top Down und Bottom Up ist erforderlich</a:t>
            </a:r>
          </a:p>
          <a:p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57E1E6D-1077-6BA0-2D76-2A0451E1195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D57957C-F0F3-7842-B0E2-B762F92D6487}" type="slidenum">
              <a:rPr lang="de-DE" b="0" smtClean="0">
                <a:solidFill>
                  <a:schemeClr val="tx1"/>
                </a:solidFill>
              </a:rPr>
              <a:pPr/>
              <a:t>6</a:t>
            </a:fld>
            <a:r>
              <a:rPr lang="de-DE">
                <a:solidFill>
                  <a:schemeClr val="accent1"/>
                </a:solidFill>
              </a:rPr>
              <a:t>  </a:t>
            </a:r>
            <a:r>
              <a:rPr lang="de-DE" b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FB6EC54-6AE0-2BEB-3E0E-DA1A97DCFAA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Thomas Kieferle | Innovationswerkstatt MT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FF477E4-03BE-0CD2-38B6-275F67648C8B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AB19A4FC-76FE-4B52-A6BC-C4A9405F94A9}" type="datetime1">
              <a:rPr lang="de-DE" smtClean="0"/>
              <a:pPr/>
              <a:t>21.04.2023</a:t>
            </a:fld>
            <a:endParaRPr lang="de-DE" dirty="0"/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F58576F4-492C-405D-8A7E-FE2DBFEC364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25077" y="4685606"/>
            <a:ext cx="620952" cy="882620"/>
          </a:xfrm>
          <a:prstGeom prst="rect">
            <a:avLst/>
          </a:prstGeom>
          <a:solidFill>
            <a:srgbClr val="E5E5E5"/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49" name="Grafik 48">
            <a:extLst>
              <a:ext uri="{FF2B5EF4-FFF2-40B4-BE49-F238E27FC236}">
                <a16:creationId xmlns:a16="http://schemas.microsoft.com/office/drawing/2014/main" id="{EE9A35FC-E06E-4851-867A-5A1294D2C924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2585"/>
          <a:stretch/>
        </p:blipFill>
        <p:spPr>
          <a:xfrm>
            <a:off x="2504863" y="5126916"/>
            <a:ext cx="703599" cy="517436"/>
          </a:xfrm>
          <a:prstGeom prst="rect">
            <a:avLst/>
          </a:prstGeom>
          <a:solidFill>
            <a:srgbClr val="E5E5E5"/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7" name="Gleichschenkliges Dreieck 6">
            <a:extLst>
              <a:ext uri="{FF2B5EF4-FFF2-40B4-BE49-F238E27FC236}">
                <a16:creationId xmlns:a16="http://schemas.microsoft.com/office/drawing/2014/main" id="{9D85C5BA-0D3E-4996-AA7E-398F260C928D}"/>
              </a:ext>
            </a:extLst>
          </p:cNvPr>
          <p:cNvSpPr/>
          <p:nvPr/>
        </p:nvSpPr>
        <p:spPr>
          <a:xfrm rot="5400000">
            <a:off x="3276379" y="3675888"/>
            <a:ext cx="2755434" cy="239668"/>
          </a:xfrm>
          <a:prstGeom prst="triangle">
            <a:avLst>
              <a:gd name="adj" fmla="val 49635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dirty="0" err="1"/>
          </a:p>
        </p:txBody>
      </p:sp>
      <p:sp>
        <p:nvSpPr>
          <p:cNvPr id="26" name="Gleichschenkliges Dreieck 25">
            <a:extLst>
              <a:ext uri="{FF2B5EF4-FFF2-40B4-BE49-F238E27FC236}">
                <a16:creationId xmlns:a16="http://schemas.microsoft.com/office/drawing/2014/main" id="{51EC9FBA-7B5D-4882-9F74-AC046FC2CA51}"/>
              </a:ext>
            </a:extLst>
          </p:cNvPr>
          <p:cNvSpPr/>
          <p:nvPr/>
        </p:nvSpPr>
        <p:spPr>
          <a:xfrm rot="16200000">
            <a:off x="6330849" y="3675888"/>
            <a:ext cx="2755437" cy="239668"/>
          </a:xfrm>
          <a:prstGeom prst="triangle">
            <a:avLst>
              <a:gd name="adj" fmla="val 49635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dirty="0" err="1"/>
          </a:p>
        </p:txBody>
      </p:sp>
      <p:pic>
        <p:nvPicPr>
          <p:cNvPr id="18" name="Inhaltsplatzhalter 17">
            <a:extLst>
              <a:ext uri="{FF2B5EF4-FFF2-40B4-BE49-F238E27FC236}">
                <a16:creationId xmlns:a16="http://schemas.microsoft.com/office/drawing/2014/main" id="{F846DEF1-3272-4D88-A155-F5D692BE42D3}"/>
              </a:ext>
            </a:extLst>
          </p:cNvPr>
          <p:cNvPicPr>
            <a:picLocks noGrp="1"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35568" y="4486840"/>
            <a:ext cx="915463" cy="686597"/>
          </a:xfrm>
          <a:prstGeom prst="rect">
            <a:avLst/>
          </a:prstGeom>
        </p:spPr>
      </p:pic>
      <p:pic>
        <p:nvPicPr>
          <p:cNvPr id="27" name="Grafik 26">
            <a:extLst>
              <a:ext uri="{FF2B5EF4-FFF2-40B4-BE49-F238E27FC236}">
                <a16:creationId xmlns:a16="http://schemas.microsoft.com/office/drawing/2014/main" id="{5A2E230E-D430-4AA1-9227-1CEDEDC6D931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755" t="-310" r="120" b="4375"/>
          <a:stretch/>
        </p:blipFill>
        <p:spPr>
          <a:xfrm>
            <a:off x="8670986" y="2434666"/>
            <a:ext cx="1346538" cy="934816"/>
          </a:xfrm>
          <a:prstGeom prst="rect">
            <a:avLst/>
          </a:prstGeom>
        </p:spPr>
      </p:pic>
      <p:pic>
        <p:nvPicPr>
          <p:cNvPr id="28" name="Grafik 27">
            <a:extLst>
              <a:ext uri="{FF2B5EF4-FFF2-40B4-BE49-F238E27FC236}">
                <a16:creationId xmlns:a16="http://schemas.microsoft.com/office/drawing/2014/main" id="{102E6199-B9F0-4815-9B27-04CF59253C0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65188" y="2434666"/>
            <a:ext cx="1401523" cy="934816"/>
          </a:xfrm>
          <a:prstGeom prst="rect">
            <a:avLst/>
          </a:prstGeom>
        </p:spPr>
      </p:pic>
      <p:pic>
        <p:nvPicPr>
          <p:cNvPr id="13" name="Grafik 12" descr="Hierarchie">
            <a:extLst>
              <a:ext uri="{FF2B5EF4-FFF2-40B4-BE49-F238E27FC236}">
                <a16:creationId xmlns:a16="http://schemas.microsoft.com/office/drawing/2014/main" id="{E9BB36F1-5750-4EE6-B2D8-BBF23326E66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592621" y="1951067"/>
            <a:ext cx="573714" cy="573714"/>
          </a:xfrm>
          <a:prstGeom prst="rect">
            <a:avLst/>
          </a:prstGeom>
        </p:spPr>
      </p:pic>
      <p:pic>
        <p:nvPicPr>
          <p:cNvPr id="21" name="Grafik 20">
            <a:extLst>
              <a:ext uri="{FF2B5EF4-FFF2-40B4-BE49-F238E27FC236}">
                <a16:creationId xmlns:a16="http://schemas.microsoft.com/office/drawing/2014/main" id="{A495701F-8975-46E1-9E7A-826F6CCD854C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66203" y="3181879"/>
            <a:ext cx="1816921" cy="1022018"/>
          </a:xfrm>
          <a:prstGeom prst="rect">
            <a:avLst/>
          </a:prstGeom>
        </p:spPr>
      </p:pic>
      <p:pic>
        <p:nvPicPr>
          <p:cNvPr id="33" name="Grafik 32">
            <a:extLst>
              <a:ext uri="{FF2B5EF4-FFF2-40B4-BE49-F238E27FC236}">
                <a16:creationId xmlns:a16="http://schemas.microsoft.com/office/drawing/2014/main" id="{A54A0981-1D77-4946-A1E0-A2C2FFC045FB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238" r="5393"/>
          <a:stretch/>
        </p:blipFill>
        <p:spPr>
          <a:xfrm>
            <a:off x="6297429" y="4486840"/>
            <a:ext cx="1027289" cy="686597"/>
          </a:xfrm>
          <a:prstGeom prst="rect">
            <a:avLst/>
          </a:prstGeom>
        </p:spPr>
      </p:pic>
      <p:grpSp>
        <p:nvGrpSpPr>
          <p:cNvPr id="60" name="Gruppieren 59">
            <a:extLst>
              <a:ext uri="{FF2B5EF4-FFF2-40B4-BE49-F238E27FC236}">
                <a16:creationId xmlns:a16="http://schemas.microsoft.com/office/drawing/2014/main" id="{DF82506A-991D-41C4-BEE2-CEEAF6976F77}"/>
              </a:ext>
            </a:extLst>
          </p:cNvPr>
          <p:cNvGrpSpPr/>
          <p:nvPr/>
        </p:nvGrpSpPr>
        <p:grpSpPr>
          <a:xfrm>
            <a:off x="10987249" y="5644352"/>
            <a:ext cx="607856" cy="294037"/>
            <a:chOff x="4470001" y="6136778"/>
            <a:chExt cx="607856" cy="294037"/>
          </a:xfrm>
        </p:grpSpPr>
        <p:sp>
          <p:nvSpPr>
            <p:cNvPr id="31" name="Rechteck 30">
              <a:extLst>
                <a:ext uri="{FF2B5EF4-FFF2-40B4-BE49-F238E27FC236}">
                  <a16:creationId xmlns:a16="http://schemas.microsoft.com/office/drawing/2014/main" id="{E5193BCA-3A44-4C0F-8A4A-E6A26FA0ECBC}"/>
                </a:ext>
              </a:extLst>
            </p:cNvPr>
            <p:cNvSpPr/>
            <p:nvPr/>
          </p:nvSpPr>
          <p:spPr>
            <a:xfrm>
              <a:off x="4470001" y="6356350"/>
              <a:ext cx="122109" cy="7446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 err="1"/>
            </a:p>
          </p:txBody>
        </p:sp>
        <p:sp>
          <p:nvSpPr>
            <p:cNvPr id="38" name="Rechteck 37">
              <a:extLst>
                <a:ext uri="{FF2B5EF4-FFF2-40B4-BE49-F238E27FC236}">
                  <a16:creationId xmlns:a16="http://schemas.microsoft.com/office/drawing/2014/main" id="{47DDFDD5-9B08-4EE4-82C0-636196291FE8}"/>
                </a:ext>
              </a:extLst>
            </p:cNvPr>
            <p:cNvSpPr/>
            <p:nvPr/>
          </p:nvSpPr>
          <p:spPr>
            <a:xfrm>
              <a:off x="4631917" y="6356350"/>
              <a:ext cx="122109" cy="7446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 err="1"/>
            </a:p>
          </p:txBody>
        </p:sp>
        <p:sp>
          <p:nvSpPr>
            <p:cNvPr id="39" name="Rechteck 38">
              <a:extLst>
                <a:ext uri="{FF2B5EF4-FFF2-40B4-BE49-F238E27FC236}">
                  <a16:creationId xmlns:a16="http://schemas.microsoft.com/office/drawing/2014/main" id="{D20B9A5C-74B7-4B50-BA3E-247AD57B4579}"/>
                </a:ext>
              </a:extLst>
            </p:cNvPr>
            <p:cNvSpPr/>
            <p:nvPr/>
          </p:nvSpPr>
          <p:spPr>
            <a:xfrm>
              <a:off x="4793833" y="6356350"/>
              <a:ext cx="122109" cy="7446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 err="1"/>
            </a:p>
          </p:txBody>
        </p:sp>
        <p:sp>
          <p:nvSpPr>
            <p:cNvPr id="40" name="Rechteck 39">
              <a:extLst>
                <a:ext uri="{FF2B5EF4-FFF2-40B4-BE49-F238E27FC236}">
                  <a16:creationId xmlns:a16="http://schemas.microsoft.com/office/drawing/2014/main" id="{37D0EFDA-FBCF-4CF7-AD10-1DE700A6A32B}"/>
                </a:ext>
              </a:extLst>
            </p:cNvPr>
            <p:cNvSpPr/>
            <p:nvPr/>
          </p:nvSpPr>
          <p:spPr>
            <a:xfrm>
              <a:off x="4955748" y="6356350"/>
              <a:ext cx="122109" cy="7446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 err="1"/>
            </a:p>
          </p:txBody>
        </p:sp>
        <p:sp>
          <p:nvSpPr>
            <p:cNvPr id="41" name="Rechteck 40">
              <a:extLst>
                <a:ext uri="{FF2B5EF4-FFF2-40B4-BE49-F238E27FC236}">
                  <a16:creationId xmlns:a16="http://schemas.microsoft.com/office/drawing/2014/main" id="{0BD2685A-7224-4506-B718-009CAE25A394}"/>
                </a:ext>
              </a:extLst>
            </p:cNvPr>
            <p:cNvSpPr/>
            <p:nvPr/>
          </p:nvSpPr>
          <p:spPr>
            <a:xfrm>
              <a:off x="4793832" y="6136778"/>
              <a:ext cx="122109" cy="7446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 err="1"/>
            </a:p>
          </p:txBody>
        </p:sp>
        <p:sp>
          <p:nvSpPr>
            <p:cNvPr id="42" name="Rechteck 41">
              <a:extLst>
                <a:ext uri="{FF2B5EF4-FFF2-40B4-BE49-F238E27FC236}">
                  <a16:creationId xmlns:a16="http://schemas.microsoft.com/office/drawing/2014/main" id="{5E7891A5-A3EE-47C8-BE0F-B4EEEE9A8487}"/>
                </a:ext>
              </a:extLst>
            </p:cNvPr>
            <p:cNvSpPr/>
            <p:nvPr/>
          </p:nvSpPr>
          <p:spPr>
            <a:xfrm>
              <a:off x="4631916" y="6136778"/>
              <a:ext cx="122109" cy="7446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 err="1"/>
            </a:p>
          </p:txBody>
        </p: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EBA3899E-BFE8-43B4-A897-05D26D763456}"/>
                </a:ext>
              </a:extLst>
            </p:cNvPr>
            <p:cNvCxnSpPr>
              <a:cxnSpLocks/>
            </p:cNvCxnSpPr>
            <p:nvPr/>
          </p:nvCxnSpPr>
          <p:spPr>
            <a:xfrm>
              <a:off x="4531055" y="6282852"/>
              <a:ext cx="0" cy="5596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r Verbinder 50">
              <a:extLst>
                <a:ext uri="{FF2B5EF4-FFF2-40B4-BE49-F238E27FC236}">
                  <a16:creationId xmlns:a16="http://schemas.microsoft.com/office/drawing/2014/main" id="{BBB2B683-1F6E-4BA4-A3CF-04B67185CBEF}"/>
                </a:ext>
              </a:extLst>
            </p:cNvPr>
            <p:cNvCxnSpPr>
              <a:cxnSpLocks/>
            </p:cNvCxnSpPr>
            <p:nvPr/>
          </p:nvCxnSpPr>
          <p:spPr>
            <a:xfrm>
              <a:off x="4692971" y="6282852"/>
              <a:ext cx="0" cy="5596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r Verbinder 51">
              <a:extLst>
                <a:ext uri="{FF2B5EF4-FFF2-40B4-BE49-F238E27FC236}">
                  <a16:creationId xmlns:a16="http://schemas.microsoft.com/office/drawing/2014/main" id="{6F09E9E5-7D71-4CF4-8F2A-A78ED743A98B}"/>
                </a:ext>
              </a:extLst>
            </p:cNvPr>
            <p:cNvCxnSpPr>
              <a:cxnSpLocks/>
            </p:cNvCxnSpPr>
            <p:nvPr/>
          </p:nvCxnSpPr>
          <p:spPr>
            <a:xfrm>
              <a:off x="4854887" y="6282852"/>
              <a:ext cx="0" cy="5596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r Verbinder 52">
              <a:extLst>
                <a:ext uri="{FF2B5EF4-FFF2-40B4-BE49-F238E27FC236}">
                  <a16:creationId xmlns:a16="http://schemas.microsoft.com/office/drawing/2014/main" id="{BA31990E-09F8-406F-9E48-B1695515112E}"/>
                </a:ext>
              </a:extLst>
            </p:cNvPr>
            <p:cNvCxnSpPr>
              <a:cxnSpLocks/>
            </p:cNvCxnSpPr>
            <p:nvPr/>
          </p:nvCxnSpPr>
          <p:spPr>
            <a:xfrm>
              <a:off x="5016802" y="6282852"/>
              <a:ext cx="0" cy="5596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r Verbinder 47">
              <a:extLst>
                <a:ext uri="{FF2B5EF4-FFF2-40B4-BE49-F238E27FC236}">
                  <a16:creationId xmlns:a16="http://schemas.microsoft.com/office/drawing/2014/main" id="{6D6E6019-B4F3-4807-A247-BCF324793073}"/>
                </a:ext>
              </a:extLst>
            </p:cNvPr>
            <p:cNvCxnSpPr>
              <a:cxnSpLocks/>
            </p:cNvCxnSpPr>
            <p:nvPr/>
          </p:nvCxnSpPr>
          <p:spPr>
            <a:xfrm>
              <a:off x="4521992" y="6282852"/>
              <a:ext cx="504000" cy="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r Verbinder 55">
              <a:extLst>
                <a:ext uri="{FF2B5EF4-FFF2-40B4-BE49-F238E27FC236}">
                  <a16:creationId xmlns:a16="http://schemas.microsoft.com/office/drawing/2014/main" id="{CBFAE2DA-744F-4AB1-BBC5-E5CB6AE1F607}"/>
                </a:ext>
              </a:extLst>
            </p:cNvPr>
            <p:cNvCxnSpPr>
              <a:cxnSpLocks/>
            </p:cNvCxnSpPr>
            <p:nvPr/>
          </p:nvCxnSpPr>
          <p:spPr>
            <a:xfrm>
              <a:off x="4692971" y="6226892"/>
              <a:ext cx="0" cy="5596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r Verbinder 56">
              <a:extLst>
                <a:ext uri="{FF2B5EF4-FFF2-40B4-BE49-F238E27FC236}">
                  <a16:creationId xmlns:a16="http://schemas.microsoft.com/office/drawing/2014/main" id="{BCE27DDF-3216-4999-86FD-C48673680B73}"/>
                </a:ext>
              </a:extLst>
            </p:cNvPr>
            <p:cNvCxnSpPr>
              <a:cxnSpLocks/>
            </p:cNvCxnSpPr>
            <p:nvPr/>
          </p:nvCxnSpPr>
          <p:spPr>
            <a:xfrm>
              <a:off x="4854887" y="6226892"/>
              <a:ext cx="0" cy="5596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41538530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8606BD9-E7A0-4033-832A-0322D648FC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dirty="0"/>
              <a:t>Ansatz für die Implementierung von AM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EB5F7327-8319-D25A-E05D-EB57A00F4A52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A2355688-CEC9-8F32-B6C1-5ABAB3D9357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Einrichtung eines Beratungsteams und einer Produktionsstätte</a:t>
            </a:r>
          </a:p>
          <a:p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64417E8-FC28-26FD-D5EE-0FF4D756D77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D57957C-F0F3-7842-B0E2-B762F92D6487}" type="slidenum">
              <a:rPr lang="de-DE" b="0" smtClean="0">
                <a:solidFill>
                  <a:schemeClr val="tx1"/>
                </a:solidFill>
              </a:rPr>
              <a:pPr/>
              <a:t>7</a:t>
            </a:fld>
            <a:r>
              <a:rPr lang="de-DE">
                <a:solidFill>
                  <a:schemeClr val="accent1"/>
                </a:solidFill>
              </a:rPr>
              <a:t>  </a:t>
            </a:r>
            <a:r>
              <a:rPr lang="de-DE" b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2E0951A-3A45-2BB6-B440-2E0F08A1FF8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Thomas Kieferle | Innovationswerkstatt MT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FC40F10F-A1CF-0F58-B7E0-94E767176818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AB19A4FC-76FE-4B52-A6BC-C4A9405F94A9}" type="datetime1">
              <a:rPr lang="de-DE" smtClean="0"/>
              <a:pPr/>
              <a:t>21.04.2023</a:t>
            </a:fld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0149933-7E59-4BA4-8933-B7C76205E139}"/>
              </a:ext>
            </a:extLst>
          </p:cNvPr>
          <p:cNvSpPr>
            <a:spLocks noGrp="1"/>
          </p:cNvSpPr>
          <p:nvPr/>
        </p:nvSpPr>
        <p:spPr>
          <a:xfrm>
            <a:off x="518644" y="973811"/>
            <a:ext cx="11157419" cy="328029"/>
          </a:xfrm>
          <a:prstGeom prst="rect">
            <a:avLst/>
          </a:prstGeom>
        </p:spPr>
        <p:txBody>
          <a:bodyPr/>
          <a:lstStyle>
            <a:lvl1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de-DE" sz="2800" b="0" kern="1200" smtClean="0">
                <a:solidFill>
                  <a:schemeClr val="tx2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  <a:lvl2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None/>
              <a:defRPr lang="de-DE" sz="1600" b="0" i="0" kern="12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21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lang="de-DE" sz="1600" b="0" i="0" kern="12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43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lang="de-DE" sz="1600" b="0" i="0" kern="12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648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lang="de-DE"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64000" indent="-216000" algn="l" defTabSz="914355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lang="de-DE" sz="1600" b="0" i="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0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9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1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C5532606-B909-40D4-A1C7-CBDBB2FD28C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755" t="-310" r="120" b="4375"/>
          <a:stretch/>
        </p:blipFill>
        <p:spPr>
          <a:xfrm>
            <a:off x="1253325" y="2764748"/>
            <a:ext cx="1139003" cy="790738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8F780058-6806-4F10-B4D4-C1B3994111C4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51436" y="2764748"/>
            <a:ext cx="1185513" cy="790738"/>
          </a:xfrm>
          <a:prstGeom prst="rect">
            <a:avLst/>
          </a:prstGeom>
        </p:spPr>
      </p:pic>
      <p:sp>
        <p:nvSpPr>
          <p:cNvPr id="25" name="Rechteck 24">
            <a:extLst>
              <a:ext uri="{FF2B5EF4-FFF2-40B4-BE49-F238E27FC236}">
                <a16:creationId xmlns:a16="http://schemas.microsoft.com/office/drawing/2014/main" id="{8A71164D-EF0C-4C64-B105-069EBC8F87E6}"/>
              </a:ext>
            </a:extLst>
          </p:cNvPr>
          <p:cNvSpPr/>
          <p:nvPr/>
        </p:nvSpPr>
        <p:spPr>
          <a:xfrm>
            <a:off x="5894138" y="2099953"/>
            <a:ext cx="5781925" cy="1813753"/>
          </a:xfrm>
          <a:prstGeom prst="rect">
            <a:avLst/>
          </a:prstGeom>
          <a:solidFill>
            <a:schemeClr val="bg2"/>
          </a:solidFill>
          <a:ln w="19050">
            <a:solidFill>
              <a:schemeClr val="tx2"/>
            </a:solidFill>
          </a:ln>
          <a:effectLst>
            <a:outerShdw blurRad="50800" dist="38100" dir="2700000" algn="tl" rotWithShape="0">
              <a:schemeClr val="accent3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algn="ctr"/>
            <a:r>
              <a:rPr lang="de-DE" sz="1600" b="1" dirty="0">
                <a:solidFill>
                  <a:schemeClr val="tx2"/>
                </a:solidFill>
              </a:rPr>
              <a:t>Einrichtung eines Beratungsteams und einer Produktion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6FAAE4F0-FC48-4242-A465-077F27067518}"/>
              </a:ext>
            </a:extLst>
          </p:cNvPr>
          <p:cNvSpPr/>
          <p:nvPr/>
        </p:nvSpPr>
        <p:spPr>
          <a:xfrm>
            <a:off x="5894012" y="4109407"/>
            <a:ext cx="5781925" cy="1714653"/>
          </a:xfrm>
          <a:prstGeom prst="rect">
            <a:avLst/>
          </a:prstGeom>
          <a:solidFill>
            <a:schemeClr val="bg2"/>
          </a:solidFill>
          <a:ln w="19050">
            <a:solidFill>
              <a:schemeClr val="tx2"/>
            </a:solidFill>
          </a:ln>
          <a:effectLst>
            <a:outerShdw blurRad="50800" dist="38100" dir="2700000" algn="tl" rotWithShape="0">
              <a:schemeClr val="accent3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algn="ctr"/>
            <a:r>
              <a:rPr lang="de-DE" sz="1600" b="1" dirty="0">
                <a:solidFill>
                  <a:schemeClr val="tx2"/>
                </a:solidFill>
              </a:rPr>
              <a:t>Einrichtung eines Prozesses zur Bauteilidentifikation</a:t>
            </a:r>
          </a:p>
        </p:txBody>
      </p:sp>
      <p:grpSp>
        <p:nvGrpSpPr>
          <p:cNvPr id="32" name="Gruppieren 31">
            <a:extLst>
              <a:ext uri="{FF2B5EF4-FFF2-40B4-BE49-F238E27FC236}">
                <a16:creationId xmlns:a16="http://schemas.microsoft.com/office/drawing/2014/main" id="{F8D8674B-BAAC-48F6-9729-F5A13F204650}"/>
              </a:ext>
            </a:extLst>
          </p:cNvPr>
          <p:cNvGrpSpPr/>
          <p:nvPr/>
        </p:nvGrpSpPr>
        <p:grpSpPr>
          <a:xfrm>
            <a:off x="6314346" y="4644362"/>
            <a:ext cx="4941258" cy="839164"/>
            <a:chOff x="552068" y="2747962"/>
            <a:chExt cx="10800000" cy="2167833"/>
          </a:xfrm>
        </p:grpSpPr>
        <p:sp>
          <p:nvSpPr>
            <p:cNvPr id="33" name="Rechteck 32">
              <a:extLst>
                <a:ext uri="{FF2B5EF4-FFF2-40B4-BE49-F238E27FC236}">
                  <a16:creationId xmlns:a16="http://schemas.microsoft.com/office/drawing/2014/main" id="{D1FAC820-07F9-4623-BBBB-8F6317A54EC0}"/>
                </a:ext>
              </a:extLst>
            </p:cNvPr>
            <p:cNvSpPr/>
            <p:nvPr/>
          </p:nvSpPr>
          <p:spPr bwMode="auto">
            <a:xfrm>
              <a:off x="552068" y="2747962"/>
              <a:ext cx="10800000" cy="2167833"/>
            </a:xfrm>
            <a:prstGeom prst="rect">
              <a:avLst/>
            </a:prstGeom>
            <a:solidFill>
              <a:srgbClr val="C9D3DC"/>
            </a:solidFill>
            <a:ln w="381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63500" sx="102000" sy="102000" algn="ctr" rotWithShape="0">
                <a:schemeClr val="bg1">
                  <a:lumMod val="75000"/>
                  <a:alpha val="40000"/>
                </a:schemeClr>
              </a:outerShdw>
            </a:effectLst>
          </p:spPr>
          <p:txBody>
            <a:bodyPr vert="horz" wrap="square" lIns="71955" tIns="71955" rIns="35979" bIns="35979" numCol="1" rtlCol="0" anchor="t" anchorCtr="0" compatLnSpc="1">
              <a:prstTxWarp prst="textNoShape">
                <a:avLst/>
              </a:prstTxWarp>
            </a:bodyPr>
            <a:lstStyle/>
            <a:p>
              <a:pPr marL="143910" indent="-143910" algn="ctr" defTabSz="1276348">
                <a:spcBef>
                  <a:spcPts val="600"/>
                </a:spcBef>
              </a:pPr>
              <a:endParaRPr lang="de-DE" sz="1400" b="1" dirty="0">
                <a:solidFill>
                  <a:srgbClr val="000000"/>
                </a:solidFill>
                <a:latin typeface="Arial"/>
              </a:endParaRPr>
            </a:p>
          </p:txBody>
        </p:sp>
        <p:grpSp>
          <p:nvGrpSpPr>
            <p:cNvPr id="34" name="Gruppieren 33">
              <a:extLst>
                <a:ext uri="{FF2B5EF4-FFF2-40B4-BE49-F238E27FC236}">
                  <a16:creationId xmlns:a16="http://schemas.microsoft.com/office/drawing/2014/main" id="{87C4A302-2E9A-4262-8551-644F630B4254}"/>
                </a:ext>
              </a:extLst>
            </p:cNvPr>
            <p:cNvGrpSpPr/>
            <p:nvPr/>
          </p:nvGrpSpPr>
          <p:grpSpPr>
            <a:xfrm>
              <a:off x="2531250" y="3798704"/>
              <a:ext cx="529409" cy="874332"/>
              <a:chOff x="2961919" y="4676335"/>
              <a:chExt cx="527725" cy="871549"/>
            </a:xfrm>
            <a:solidFill>
              <a:schemeClr val="tx1"/>
            </a:solidFill>
          </p:grpSpPr>
          <p:sp>
            <p:nvSpPr>
              <p:cNvPr id="51" name="Freeform 208">
                <a:extLst>
                  <a:ext uri="{FF2B5EF4-FFF2-40B4-BE49-F238E27FC236}">
                    <a16:creationId xmlns:a16="http://schemas.microsoft.com/office/drawing/2014/main" id="{61A66914-F0E0-4233-9A9C-5E2A4DE0B34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040410" y="5129180"/>
                <a:ext cx="449234" cy="418704"/>
              </a:xfrm>
              <a:custGeom>
                <a:avLst/>
                <a:gdLst>
                  <a:gd name="T0" fmla="*/ 39 w 605"/>
                  <a:gd name="T1" fmla="*/ 162 h 565"/>
                  <a:gd name="T2" fmla="*/ 84 w 605"/>
                  <a:gd name="T3" fmla="*/ 182 h 565"/>
                  <a:gd name="T4" fmla="*/ 163 w 605"/>
                  <a:gd name="T5" fmla="*/ 181 h 565"/>
                  <a:gd name="T6" fmla="*/ 187 w 605"/>
                  <a:gd name="T7" fmla="*/ 283 h 565"/>
                  <a:gd name="T8" fmla="*/ 61 w 605"/>
                  <a:gd name="T9" fmla="*/ 323 h 565"/>
                  <a:gd name="T10" fmla="*/ 0 w 605"/>
                  <a:gd name="T11" fmla="*/ 273 h 565"/>
                  <a:gd name="T12" fmla="*/ 40 w 605"/>
                  <a:gd name="T13" fmla="*/ 81 h 565"/>
                  <a:gd name="T14" fmla="*/ 121 w 605"/>
                  <a:gd name="T15" fmla="*/ 0 h 565"/>
                  <a:gd name="T16" fmla="*/ 202 w 605"/>
                  <a:gd name="T17" fmla="*/ 81 h 565"/>
                  <a:gd name="T18" fmla="*/ 121 w 605"/>
                  <a:gd name="T19" fmla="*/ 162 h 565"/>
                  <a:gd name="T20" fmla="*/ 81 w 605"/>
                  <a:gd name="T21" fmla="*/ 483 h 565"/>
                  <a:gd name="T22" fmla="*/ 86 w 605"/>
                  <a:gd name="T23" fmla="*/ 416 h 565"/>
                  <a:gd name="T24" fmla="*/ 108 w 605"/>
                  <a:gd name="T25" fmla="*/ 351 h 565"/>
                  <a:gd name="T26" fmla="*/ 155 w 605"/>
                  <a:gd name="T27" fmla="*/ 309 h 565"/>
                  <a:gd name="T28" fmla="*/ 203 w 605"/>
                  <a:gd name="T29" fmla="*/ 309 h 565"/>
                  <a:gd name="T30" fmla="*/ 260 w 605"/>
                  <a:gd name="T31" fmla="*/ 340 h 565"/>
                  <a:gd name="T32" fmla="*/ 345 w 605"/>
                  <a:gd name="T33" fmla="*/ 340 h 565"/>
                  <a:gd name="T34" fmla="*/ 402 w 605"/>
                  <a:gd name="T35" fmla="*/ 309 h 565"/>
                  <a:gd name="T36" fmla="*/ 450 w 605"/>
                  <a:gd name="T37" fmla="*/ 309 h 565"/>
                  <a:gd name="T38" fmla="*/ 497 w 605"/>
                  <a:gd name="T39" fmla="*/ 351 h 565"/>
                  <a:gd name="T40" fmla="*/ 519 w 605"/>
                  <a:gd name="T41" fmla="*/ 416 h 565"/>
                  <a:gd name="T42" fmla="*/ 524 w 605"/>
                  <a:gd name="T43" fmla="*/ 483 h 565"/>
                  <a:gd name="T44" fmla="*/ 440 w 605"/>
                  <a:gd name="T45" fmla="*/ 565 h 565"/>
                  <a:gd name="T46" fmla="*/ 104 w 605"/>
                  <a:gd name="T47" fmla="*/ 543 h 565"/>
                  <a:gd name="T48" fmla="*/ 217 w 605"/>
                  <a:gd name="T49" fmla="*/ 287 h 565"/>
                  <a:gd name="T50" fmla="*/ 217 w 605"/>
                  <a:gd name="T51" fmla="*/ 116 h 565"/>
                  <a:gd name="T52" fmla="*/ 388 w 605"/>
                  <a:gd name="T53" fmla="*/ 116 h 565"/>
                  <a:gd name="T54" fmla="*/ 388 w 605"/>
                  <a:gd name="T55" fmla="*/ 287 h 565"/>
                  <a:gd name="T56" fmla="*/ 217 w 605"/>
                  <a:gd name="T57" fmla="*/ 287 h 565"/>
                  <a:gd name="T58" fmla="*/ 403 w 605"/>
                  <a:gd name="T59" fmla="*/ 81 h 565"/>
                  <a:gd name="T60" fmla="*/ 484 w 605"/>
                  <a:gd name="T61" fmla="*/ 0 h 565"/>
                  <a:gd name="T62" fmla="*/ 565 w 605"/>
                  <a:gd name="T63" fmla="*/ 81 h 565"/>
                  <a:gd name="T64" fmla="*/ 484 w 605"/>
                  <a:gd name="T65" fmla="*/ 162 h 565"/>
                  <a:gd name="T66" fmla="*/ 418 w 605"/>
                  <a:gd name="T67" fmla="*/ 283 h 565"/>
                  <a:gd name="T68" fmla="*/ 442 w 605"/>
                  <a:gd name="T69" fmla="*/ 181 h 565"/>
                  <a:gd name="T70" fmla="*/ 521 w 605"/>
                  <a:gd name="T71" fmla="*/ 182 h 565"/>
                  <a:gd name="T72" fmla="*/ 566 w 605"/>
                  <a:gd name="T73" fmla="*/ 162 h 565"/>
                  <a:gd name="T74" fmla="*/ 587 w 605"/>
                  <a:gd name="T75" fmla="*/ 310 h 565"/>
                  <a:gd name="T76" fmla="*/ 502 w 605"/>
                  <a:gd name="T77" fmla="*/ 323 h 5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605" h="565">
                    <a:moveTo>
                      <a:pt x="0" y="273"/>
                    </a:moveTo>
                    <a:cubicBezTo>
                      <a:pt x="0" y="199"/>
                      <a:pt x="13" y="162"/>
                      <a:pt x="39" y="162"/>
                    </a:cubicBezTo>
                    <a:cubicBezTo>
                      <a:pt x="40" y="162"/>
                      <a:pt x="45" y="164"/>
                      <a:pt x="53" y="168"/>
                    </a:cubicBezTo>
                    <a:cubicBezTo>
                      <a:pt x="61" y="173"/>
                      <a:pt x="71" y="177"/>
                      <a:pt x="84" y="182"/>
                    </a:cubicBezTo>
                    <a:cubicBezTo>
                      <a:pt x="96" y="186"/>
                      <a:pt x="109" y="188"/>
                      <a:pt x="121" y="188"/>
                    </a:cubicBezTo>
                    <a:cubicBezTo>
                      <a:pt x="135" y="188"/>
                      <a:pt x="149" y="186"/>
                      <a:pt x="163" y="181"/>
                    </a:cubicBezTo>
                    <a:cubicBezTo>
                      <a:pt x="162" y="189"/>
                      <a:pt x="161" y="196"/>
                      <a:pt x="161" y="202"/>
                    </a:cubicBezTo>
                    <a:cubicBezTo>
                      <a:pt x="161" y="231"/>
                      <a:pt x="170" y="258"/>
                      <a:pt x="187" y="283"/>
                    </a:cubicBezTo>
                    <a:cubicBezTo>
                      <a:pt x="153" y="284"/>
                      <a:pt x="125" y="297"/>
                      <a:pt x="103" y="323"/>
                    </a:cubicBezTo>
                    <a:lnTo>
                      <a:pt x="61" y="323"/>
                    </a:lnTo>
                    <a:cubicBezTo>
                      <a:pt x="44" y="323"/>
                      <a:pt x="29" y="319"/>
                      <a:pt x="18" y="310"/>
                    </a:cubicBezTo>
                    <a:cubicBezTo>
                      <a:pt x="6" y="302"/>
                      <a:pt x="0" y="289"/>
                      <a:pt x="0" y="273"/>
                    </a:cubicBezTo>
                    <a:close/>
                    <a:moveTo>
                      <a:pt x="64" y="138"/>
                    </a:moveTo>
                    <a:cubicBezTo>
                      <a:pt x="48" y="122"/>
                      <a:pt x="40" y="103"/>
                      <a:pt x="40" y="81"/>
                    </a:cubicBezTo>
                    <a:cubicBezTo>
                      <a:pt x="40" y="59"/>
                      <a:pt x="48" y="40"/>
                      <a:pt x="64" y="24"/>
                    </a:cubicBezTo>
                    <a:cubicBezTo>
                      <a:pt x="80" y="8"/>
                      <a:pt x="99" y="0"/>
                      <a:pt x="121" y="0"/>
                    </a:cubicBezTo>
                    <a:cubicBezTo>
                      <a:pt x="143" y="0"/>
                      <a:pt x="162" y="8"/>
                      <a:pt x="178" y="24"/>
                    </a:cubicBezTo>
                    <a:cubicBezTo>
                      <a:pt x="194" y="40"/>
                      <a:pt x="202" y="59"/>
                      <a:pt x="202" y="81"/>
                    </a:cubicBezTo>
                    <a:cubicBezTo>
                      <a:pt x="202" y="103"/>
                      <a:pt x="194" y="122"/>
                      <a:pt x="178" y="138"/>
                    </a:cubicBezTo>
                    <a:cubicBezTo>
                      <a:pt x="162" y="154"/>
                      <a:pt x="143" y="162"/>
                      <a:pt x="121" y="162"/>
                    </a:cubicBezTo>
                    <a:cubicBezTo>
                      <a:pt x="99" y="162"/>
                      <a:pt x="80" y="154"/>
                      <a:pt x="64" y="138"/>
                    </a:cubicBezTo>
                    <a:close/>
                    <a:moveTo>
                      <a:pt x="81" y="483"/>
                    </a:moveTo>
                    <a:cubicBezTo>
                      <a:pt x="81" y="472"/>
                      <a:pt x="81" y="461"/>
                      <a:pt x="82" y="451"/>
                    </a:cubicBezTo>
                    <a:cubicBezTo>
                      <a:pt x="83" y="440"/>
                      <a:pt x="84" y="429"/>
                      <a:pt x="86" y="416"/>
                    </a:cubicBezTo>
                    <a:cubicBezTo>
                      <a:pt x="88" y="404"/>
                      <a:pt x="91" y="393"/>
                      <a:pt x="95" y="382"/>
                    </a:cubicBezTo>
                    <a:cubicBezTo>
                      <a:pt x="98" y="372"/>
                      <a:pt x="102" y="361"/>
                      <a:pt x="108" y="351"/>
                    </a:cubicBezTo>
                    <a:cubicBezTo>
                      <a:pt x="114" y="341"/>
                      <a:pt x="120" y="333"/>
                      <a:pt x="128" y="326"/>
                    </a:cubicBezTo>
                    <a:cubicBezTo>
                      <a:pt x="135" y="319"/>
                      <a:pt x="144" y="313"/>
                      <a:pt x="155" y="309"/>
                    </a:cubicBezTo>
                    <a:cubicBezTo>
                      <a:pt x="165" y="305"/>
                      <a:pt x="177" y="303"/>
                      <a:pt x="190" y="303"/>
                    </a:cubicBezTo>
                    <a:cubicBezTo>
                      <a:pt x="192" y="303"/>
                      <a:pt x="196" y="305"/>
                      <a:pt x="203" y="309"/>
                    </a:cubicBezTo>
                    <a:cubicBezTo>
                      <a:pt x="210" y="314"/>
                      <a:pt x="218" y="319"/>
                      <a:pt x="226" y="325"/>
                    </a:cubicBezTo>
                    <a:cubicBezTo>
                      <a:pt x="235" y="330"/>
                      <a:pt x="246" y="335"/>
                      <a:pt x="260" y="340"/>
                    </a:cubicBezTo>
                    <a:cubicBezTo>
                      <a:pt x="274" y="344"/>
                      <a:pt x="288" y="346"/>
                      <a:pt x="302" y="346"/>
                    </a:cubicBezTo>
                    <a:cubicBezTo>
                      <a:pt x="317" y="346"/>
                      <a:pt x="331" y="344"/>
                      <a:pt x="345" y="340"/>
                    </a:cubicBezTo>
                    <a:cubicBezTo>
                      <a:pt x="359" y="335"/>
                      <a:pt x="370" y="330"/>
                      <a:pt x="379" y="325"/>
                    </a:cubicBezTo>
                    <a:cubicBezTo>
                      <a:pt x="387" y="319"/>
                      <a:pt x="395" y="314"/>
                      <a:pt x="402" y="309"/>
                    </a:cubicBezTo>
                    <a:cubicBezTo>
                      <a:pt x="409" y="305"/>
                      <a:pt x="413" y="303"/>
                      <a:pt x="415" y="303"/>
                    </a:cubicBezTo>
                    <a:cubicBezTo>
                      <a:pt x="428" y="303"/>
                      <a:pt x="440" y="305"/>
                      <a:pt x="450" y="309"/>
                    </a:cubicBezTo>
                    <a:cubicBezTo>
                      <a:pt x="461" y="313"/>
                      <a:pt x="470" y="319"/>
                      <a:pt x="477" y="326"/>
                    </a:cubicBezTo>
                    <a:cubicBezTo>
                      <a:pt x="485" y="333"/>
                      <a:pt x="491" y="341"/>
                      <a:pt x="497" y="351"/>
                    </a:cubicBezTo>
                    <a:cubicBezTo>
                      <a:pt x="502" y="361"/>
                      <a:pt x="507" y="372"/>
                      <a:pt x="510" y="382"/>
                    </a:cubicBezTo>
                    <a:cubicBezTo>
                      <a:pt x="514" y="393"/>
                      <a:pt x="516" y="404"/>
                      <a:pt x="519" y="416"/>
                    </a:cubicBezTo>
                    <a:cubicBezTo>
                      <a:pt x="521" y="429"/>
                      <a:pt x="522" y="440"/>
                      <a:pt x="523" y="451"/>
                    </a:cubicBezTo>
                    <a:cubicBezTo>
                      <a:pt x="524" y="461"/>
                      <a:pt x="524" y="472"/>
                      <a:pt x="524" y="483"/>
                    </a:cubicBezTo>
                    <a:cubicBezTo>
                      <a:pt x="524" y="508"/>
                      <a:pt x="517" y="528"/>
                      <a:pt x="501" y="543"/>
                    </a:cubicBezTo>
                    <a:cubicBezTo>
                      <a:pt x="486" y="557"/>
                      <a:pt x="466" y="565"/>
                      <a:pt x="440" y="565"/>
                    </a:cubicBezTo>
                    <a:lnTo>
                      <a:pt x="165" y="565"/>
                    </a:lnTo>
                    <a:cubicBezTo>
                      <a:pt x="139" y="565"/>
                      <a:pt x="119" y="557"/>
                      <a:pt x="104" y="543"/>
                    </a:cubicBezTo>
                    <a:cubicBezTo>
                      <a:pt x="88" y="528"/>
                      <a:pt x="81" y="508"/>
                      <a:pt x="81" y="483"/>
                    </a:cubicBezTo>
                    <a:close/>
                    <a:moveTo>
                      <a:pt x="217" y="287"/>
                    </a:moveTo>
                    <a:cubicBezTo>
                      <a:pt x="193" y="264"/>
                      <a:pt x="182" y="235"/>
                      <a:pt x="182" y="202"/>
                    </a:cubicBezTo>
                    <a:cubicBezTo>
                      <a:pt x="182" y="169"/>
                      <a:pt x="193" y="140"/>
                      <a:pt x="217" y="116"/>
                    </a:cubicBezTo>
                    <a:cubicBezTo>
                      <a:pt x="241" y="93"/>
                      <a:pt x="269" y="81"/>
                      <a:pt x="302" y="81"/>
                    </a:cubicBezTo>
                    <a:cubicBezTo>
                      <a:pt x="336" y="81"/>
                      <a:pt x="364" y="93"/>
                      <a:pt x="388" y="116"/>
                    </a:cubicBezTo>
                    <a:cubicBezTo>
                      <a:pt x="412" y="140"/>
                      <a:pt x="423" y="169"/>
                      <a:pt x="423" y="202"/>
                    </a:cubicBezTo>
                    <a:cubicBezTo>
                      <a:pt x="423" y="235"/>
                      <a:pt x="412" y="264"/>
                      <a:pt x="388" y="287"/>
                    </a:cubicBezTo>
                    <a:cubicBezTo>
                      <a:pt x="364" y="311"/>
                      <a:pt x="336" y="323"/>
                      <a:pt x="302" y="323"/>
                    </a:cubicBezTo>
                    <a:cubicBezTo>
                      <a:pt x="269" y="323"/>
                      <a:pt x="241" y="311"/>
                      <a:pt x="217" y="287"/>
                    </a:cubicBezTo>
                    <a:close/>
                    <a:moveTo>
                      <a:pt x="427" y="138"/>
                    </a:moveTo>
                    <a:cubicBezTo>
                      <a:pt x="411" y="122"/>
                      <a:pt x="403" y="103"/>
                      <a:pt x="403" y="81"/>
                    </a:cubicBezTo>
                    <a:cubicBezTo>
                      <a:pt x="403" y="59"/>
                      <a:pt x="411" y="40"/>
                      <a:pt x="427" y="24"/>
                    </a:cubicBezTo>
                    <a:cubicBezTo>
                      <a:pt x="443" y="8"/>
                      <a:pt x="462" y="0"/>
                      <a:pt x="484" y="0"/>
                    </a:cubicBezTo>
                    <a:cubicBezTo>
                      <a:pt x="506" y="0"/>
                      <a:pt x="525" y="8"/>
                      <a:pt x="541" y="24"/>
                    </a:cubicBezTo>
                    <a:cubicBezTo>
                      <a:pt x="557" y="40"/>
                      <a:pt x="565" y="59"/>
                      <a:pt x="565" y="81"/>
                    </a:cubicBezTo>
                    <a:cubicBezTo>
                      <a:pt x="565" y="103"/>
                      <a:pt x="557" y="122"/>
                      <a:pt x="541" y="138"/>
                    </a:cubicBezTo>
                    <a:cubicBezTo>
                      <a:pt x="525" y="154"/>
                      <a:pt x="506" y="162"/>
                      <a:pt x="484" y="162"/>
                    </a:cubicBezTo>
                    <a:cubicBezTo>
                      <a:pt x="462" y="162"/>
                      <a:pt x="443" y="154"/>
                      <a:pt x="427" y="138"/>
                    </a:cubicBezTo>
                    <a:close/>
                    <a:moveTo>
                      <a:pt x="418" y="283"/>
                    </a:moveTo>
                    <a:cubicBezTo>
                      <a:pt x="435" y="258"/>
                      <a:pt x="444" y="231"/>
                      <a:pt x="444" y="202"/>
                    </a:cubicBezTo>
                    <a:cubicBezTo>
                      <a:pt x="444" y="196"/>
                      <a:pt x="443" y="189"/>
                      <a:pt x="442" y="181"/>
                    </a:cubicBezTo>
                    <a:cubicBezTo>
                      <a:pt x="456" y="186"/>
                      <a:pt x="470" y="188"/>
                      <a:pt x="484" y="188"/>
                    </a:cubicBezTo>
                    <a:cubicBezTo>
                      <a:pt x="496" y="188"/>
                      <a:pt x="509" y="186"/>
                      <a:pt x="521" y="182"/>
                    </a:cubicBezTo>
                    <a:cubicBezTo>
                      <a:pt x="534" y="177"/>
                      <a:pt x="544" y="173"/>
                      <a:pt x="552" y="168"/>
                    </a:cubicBezTo>
                    <a:cubicBezTo>
                      <a:pt x="560" y="164"/>
                      <a:pt x="565" y="162"/>
                      <a:pt x="566" y="162"/>
                    </a:cubicBezTo>
                    <a:cubicBezTo>
                      <a:pt x="592" y="162"/>
                      <a:pt x="605" y="199"/>
                      <a:pt x="605" y="273"/>
                    </a:cubicBezTo>
                    <a:cubicBezTo>
                      <a:pt x="605" y="289"/>
                      <a:pt x="599" y="302"/>
                      <a:pt x="587" y="310"/>
                    </a:cubicBezTo>
                    <a:cubicBezTo>
                      <a:pt x="575" y="319"/>
                      <a:pt x="561" y="323"/>
                      <a:pt x="544" y="323"/>
                    </a:cubicBezTo>
                    <a:lnTo>
                      <a:pt x="502" y="323"/>
                    </a:lnTo>
                    <a:cubicBezTo>
                      <a:pt x="480" y="297"/>
                      <a:pt x="452" y="284"/>
                      <a:pt x="418" y="283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2400" dirty="0"/>
              </a:p>
            </p:txBody>
          </p:sp>
          <p:sp>
            <p:nvSpPr>
              <p:cNvPr id="52" name="Freeform 277">
                <a:extLst>
                  <a:ext uri="{FF2B5EF4-FFF2-40B4-BE49-F238E27FC236}">
                    <a16:creationId xmlns:a16="http://schemas.microsoft.com/office/drawing/2014/main" id="{9956E331-420A-4BCD-96C8-6D7ADC7AD82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961919" y="4676335"/>
                <a:ext cx="449234" cy="388177"/>
              </a:xfrm>
              <a:custGeom>
                <a:avLst/>
                <a:gdLst>
                  <a:gd name="T0" fmla="*/ 0 w 604"/>
                  <a:gd name="T1" fmla="*/ 394 h 525"/>
                  <a:gd name="T2" fmla="*/ 0 w 604"/>
                  <a:gd name="T3" fmla="*/ 51 h 525"/>
                  <a:gd name="T4" fmla="*/ 14 w 604"/>
                  <a:gd name="T5" fmla="*/ 15 h 525"/>
                  <a:gd name="T6" fmla="*/ 50 w 604"/>
                  <a:gd name="T7" fmla="*/ 0 h 525"/>
                  <a:gd name="T8" fmla="*/ 554 w 604"/>
                  <a:gd name="T9" fmla="*/ 0 h 525"/>
                  <a:gd name="T10" fmla="*/ 590 w 604"/>
                  <a:gd name="T11" fmla="*/ 15 h 525"/>
                  <a:gd name="T12" fmla="*/ 604 w 604"/>
                  <a:gd name="T13" fmla="*/ 51 h 525"/>
                  <a:gd name="T14" fmla="*/ 604 w 604"/>
                  <a:gd name="T15" fmla="*/ 394 h 525"/>
                  <a:gd name="T16" fmla="*/ 590 w 604"/>
                  <a:gd name="T17" fmla="*/ 429 h 525"/>
                  <a:gd name="T18" fmla="*/ 554 w 604"/>
                  <a:gd name="T19" fmla="*/ 444 h 525"/>
                  <a:gd name="T20" fmla="*/ 383 w 604"/>
                  <a:gd name="T21" fmla="*/ 444 h 525"/>
                  <a:gd name="T22" fmla="*/ 388 w 604"/>
                  <a:gd name="T23" fmla="*/ 468 h 525"/>
                  <a:gd name="T24" fmla="*/ 398 w 604"/>
                  <a:gd name="T25" fmla="*/ 491 h 525"/>
                  <a:gd name="T26" fmla="*/ 403 w 604"/>
                  <a:gd name="T27" fmla="*/ 504 h 525"/>
                  <a:gd name="T28" fmla="*/ 397 w 604"/>
                  <a:gd name="T29" fmla="*/ 519 h 525"/>
                  <a:gd name="T30" fmla="*/ 383 w 604"/>
                  <a:gd name="T31" fmla="*/ 525 h 525"/>
                  <a:gd name="T32" fmla="*/ 221 w 604"/>
                  <a:gd name="T33" fmla="*/ 525 h 525"/>
                  <a:gd name="T34" fmla="*/ 207 w 604"/>
                  <a:gd name="T35" fmla="*/ 519 h 525"/>
                  <a:gd name="T36" fmla="*/ 201 w 604"/>
                  <a:gd name="T37" fmla="*/ 504 h 525"/>
                  <a:gd name="T38" fmla="*/ 206 w 604"/>
                  <a:gd name="T39" fmla="*/ 491 h 525"/>
                  <a:gd name="T40" fmla="*/ 216 w 604"/>
                  <a:gd name="T41" fmla="*/ 468 h 525"/>
                  <a:gd name="T42" fmla="*/ 221 w 604"/>
                  <a:gd name="T43" fmla="*/ 444 h 525"/>
                  <a:gd name="T44" fmla="*/ 50 w 604"/>
                  <a:gd name="T45" fmla="*/ 444 h 525"/>
                  <a:gd name="T46" fmla="*/ 14 w 604"/>
                  <a:gd name="T47" fmla="*/ 429 h 525"/>
                  <a:gd name="T48" fmla="*/ 0 w 604"/>
                  <a:gd name="T49" fmla="*/ 394 h 525"/>
                  <a:gd name="T50" fmla="*/ 40 w 604"/>
                  <a:gd name="T51" fmla="*/ 313 h 525"/>
                  <a:gd name="T52" fmla="*/ 43 w 604"/>
                  <a:gd name="T53" fmla="*/ 320 h 525"/>
                  <a:gd name="T54" fmla="*/ 50 w 604"/>
                  <a:gd name="T55" fmla="*/ 323 h 525"/>
                  <a:gd name="T56" fmla="*/ 554 w 604"/>
                  <a:gd name="T57" fmla="*/ 323 h 525"/>
                  <a:gd name="T58" fmla="*/ 561 w 604"/>
                  <a:gd name="T59" fmla="*/ 320 h 525"/>
                  <a:gd name="T60" fmla="*/ 564 w 604"/>
                  <a:gd name="T61" fmla="*/ 313 h 525"/>
                  <a:gd name="T62" fmla="*/ 564 w 604"/>
                  <a:gd name="T63" fmla="*/ 51 h 525"/>
                  <a:gd name="T64" fmla="*/ 561 w 604"/>
                  <a:gd name="T65" fmla="*/ 44 h 525"/>
                  <a:gd name="T66" fmla="*/ 554 w 604"/>
                  <a:gd name="T67" fmla="*/ 41 h 525"/>
                  <a:gd name="T68" fmla="*/ 50 w 604"/>
                  <a:gd name="T69" fmla="*/ 41 h 525"/>
                  <a:gd name="T70" fmla="*/ 43 w 604"/>
                  <a:gd name="T71" fmla="*/ 44 h 525"/>
                  <a:gd name="T72" fmla="*/ 40 w 604"/>
                  <a:gd name="T73" fmla="*/ 51 h 525"/>
                  <a:gd name="T74" fmla="*/ 40 w 604"/>
                  <a:gd name="T75" fmla="*/ 313 h 5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604" h="525">
                    <a:moveTo>
                      <a:pt x="0" y="394"/>
                    </a:moveTo>
                    <a:lnTo>
                      <a:pt x="0" y="51"/>
                    </a:lnTo>
                    <a:cubicBezTo>
                      <a:pt x="0" y="37"/>
                      <a:pt x="5" y="25"/>
                      <a:pt x="14" y="15"/>
                    </a:cubicBezTo>
                    <a:cubicBezTo>
                      <a:pt x="24" y="5"/>
                      <a:pt x="36" y="0"/>
                      <a:pt x="50" y="0"/>
                    </a:cubicBezTo>
                    <a:lnTo>
                      <a:pt x="554" y="0"/>
                    </a:lnTo>
                    <a:cubicBezTo>
                      <a:pt x="568" y="0"/>
                      <a:pt x="580" y="5"/>
                      <a:pt x="590" y="15"/>
                    </a:cubicBezTo>
                    <a:cubicBezTo>
                      <a:pt x="600" y="25"/>
                      <a:pt x="604" y="37"/>
                      <a:pt x="604" y="51"/>
                    </a:cubicBezTo>
                    <a:lnTo>
                      <a:pt x="604" y="394"/>
                    </a:lnTo>
                    <a:cubicBezTo>
                      <a:pt x="604" y="407"/>
                      <a:pt x="600" y="419"/>
                      <a:pt x="590" y="429"/>
                    </a:cubicBezTo>
                    <a:cubicBezTo>
                      <a:pt x="580" y="439"/>
                      <a:pt x="568" y="444"/>
                      <a:pt x="554" y="444"/>
                    </a:cubicBezTo>
                    <a:lnTo>
                      <a:pt x="383" y="444"/>
                    </a:lnTo>
                    <a:cubicBezTo>
                      <a:pt x="383" y="452"/>
                      <a:pt x="384" y="460"/>
                      <a:pt x="388" y="468"/>
                    </a:cubicBezTo>
                    <a:cubicBezTo>
                      <a:pt x="391" y="477"/>
                      <a:pt x="394" y="484"/>
                      <a:pt x="398" y="491"/>
                    </a:cubicBezTo>
                    <a:cubicBezTo>
                      <a:pt x="401" y="497"/>
                      <a:pt x="403" y="502"/>
                      <a:pt x="403" y="504"/>
                    </a:cubicBezTo>
                    <a:cubicBezTo>
                      <a:pt x="403" y="510"/>
                      <a:pt x="401" y="515"/>
                      <a:pt x="397" y="519"/>
                    </a:cubicBezTo>
                    <a:cubicBezTo>
                      <a:pt x="393" y="523"/>
                      <a:pt x="388" y="525"/>
                      <a:pt x="383" y="525"/>
                    </a:cubicBezTo>
                    <a:lnTo>
                      <a:pt x="221" y="525"/>
                    </a:lnTo>
                    <a:cubicBezTo>
                      <a:pt x="216" y="525"/>
                      <a:pt x="211" y="523"/>
                      <a:pt x="207" y="519"/>
                    </a:cubicBezTo>
                    <a:cubicBezTo>
                      <a:pt x="203" y="515"/>
                      <a:pt x="201" y="510"/>
                      <a:pt x="201" y="504"/>
                    </a:cubicBezTo>
                    <a:cubicBezTo>
                      <a:pt x="201" y="501"/>
                      <a:pt x="203" y="497"/>
                      <a:pt x="206" y="491"/>
                    </a:cubicBezTo>
                    <a:cubicBezTo>
                      <a:pt x="210" y="484"/>
                      <a:pt x="213" y="477"/>
                      <a:pt x="216" y="468"/>
                    </a:cubicBezTo>
                    <a:cubicBezTo>
                      <a:pt x="220" y="460"/>
                      <a:pt x="221" y="452"/>
                      <a:pt x="221" y="444"/>
                    </a:cubicBezTo>
                    <a:lnTo>
                      <a:pt x="50" y="444"/>
                    </a:lnTo>
                    <a:cubicBezTo>
                      <a:pt x="36" y="444"/>
                      <a:pt x="24" y="439"/>
                      <a:pt x="14" y="429"/>
                    </a:cubicBezTo>
                    <a:cubicBezTo>
                      <a:pt x="5" y="419"/>
                      <a:pt x="0" y="407"/>
                      <a:pt x="0" y="394"/>
                    </a:cubicBezTo>
                    <a:close/>
                    <a:moveTo>
                      <a:pt x="40" y="313"/>
                    </a:moveTo>
                    <a:cubicBezTo>
                      <a:pt x="40" y="316"/>
                      <a:pt x="41" y="318"/>
                      <a:pt x="43" y="320"/>
                    </a:cubicBezTo>
                    <a:cubicBezTo>
                      <a:pt x="45" y="322"/>
                      <a:pt x="47" y="323"/>
                      <a:pt x="50" y="323"/>
                    </a:cubicBezTo>
                    <a:lnTo>
                      <a:pt x="554" y="323"/>
                    </a:lnTo>
                    <a:cubicBezTo>
                      <a:pt x="557" y="323"/>
                      <a:pt x="559" y="322"/>
                      <a:pt x="561" y="320"/>
                    </a:cubicBezTo>
                    <a:cubicBezTo>
                      <a:pt x="563" y="318"/>
                      <a:pt x="564" y="316"/>
                      <a:pt x="564" y="313"/>
                    </a:cubicBezTo>
                    <a:lnTo>
                      <a:pt x="564" y="51"/>
                    </a:lnTo>
                    <a:cubicBezTo>
                      <a:pt x="564" y="48"/>
                      <a:pt x="563" y="46"/>
                      <a:pt x="561" y="44"/>
                    </a:cubicBezTo>
                    <a:cubicBezTo>
                      <a:pt x="559" y="42"/>
                      <a:pt x="557" y="41"/>
                      <a:pt x="554" y="41"/>
                    </a:cubicBezTo>
                    <a:lnTo>
                      <a:pt x="50" y="41"/>
                    </a:lnTo>
                    <a:cubicBezTo>
                      <a:pt x="47" y="41"/>
                      <a:pt x="45" y="42"/>
                      <a:pt x="43" y="44"/>
                    </a:cubicBezTo>
                    <a:cubicBezTo>
                      <a:pt x="41" y="46"/>
                      <a:pt x="40" y="48"/>
                      <a:pt x="40" y="51"/>
                    </a:cubicBezTo>
                    <a:lnTo>
                      <a:pt x="40" y="313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2400" dirty="0"/>
              </a:p>
            </p:txBody>
          </p:sp>
        </p:grpSp>
        <p:sp>
          <p:nvSpPr>
            <p:cNvPr id="35" name="Textfeld 34">
              <a:extLst>
                <a:ext uri="{FF2B5EF4-FFF2-40B4-BE49-F238E27FC236}">
                  <a16:creationId xmlns:a16="http://schemas.microsoft.com/office/drawing/2014/main" id="{08EA9F23-A5CC-47AD-91AE-FD51FBD3B091}"/>
                </a:ext>
              </a:extLst>
            </p:cNvPr>
            <p:cNvSpPr txBox="1"/>
            <p:nvPr/>
          </p:nvSpPr>
          <p:spPr>
            <a:xfrm>
              <a:off x="4168583" y="3066029"/>
              <a:ext cx="2767401" cy="266427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r>
                <a:rPr lang="de-DE" sz="800" b="1" dirty="0"/>
                <a:t>2. Selbstständige Suche der </a:t>
              </a:r>
              <a:r>
                <a:rPr lang="de-DE" sz="800" b="1" dirty="0" err="1"/>
                <a:t>Bauteilverantw</a:t>
              </a:r>
              <a:r>
                <a:rPr lang="de-DE" sz="800" b="1" dirty="0"/>
                <a:t>.</a:t>
              </a:r>
            </a:p>
          </p:txBody>
        </p:sp>
        <p:grpSp>
          <p:nvGrpSpPr>
            <p:cNvPr id="36" name="Gruppieren 35">
              <a:extLst>
                <a:ext uri="{FF2B5EF4-FFF2-40B4-BE49-F238E27FC236}">
                  <a16:creationId xmlns:a16="http://schemas.microsoft.com/office/drawing/2014/main" id="{F6C55E54-7561-4713-8D6D-801E9AA8FA2C}"/>
                </a:ext>
              </a:extLst>
            </p:cNvPr>
            <p:cNvGrpSpPr/>
            <p:nvPr/>
          </p:nvGrpSpPr>
          <p:grpSpPr>
            <a:xfrm>
              <a:off x="4928048" y="3904408"/>
              <a:ext cx="624237" cy="768628"/>
              <a:chOff x="3149951" y="2990492"/>
              <a:chExt cx="468178" cy="576471"/>
            </a:xfrm>
            <a:solidFill>
              <a:schemeClr val="tx1"/>
            </a:solidFill>
          </p:grpSpPr>
          <p:sp>
            <p:nvSpPr>
              <p:cNvPr id="49" name="Freeform 42">
                <a:extLst>
                  <a:ext uri="{FF2B5EF4-FFF2-40B4-BE49-F238E27FC236}">
                    <a16:creationId xmlns:a16="http://schemas.microsoft.com/office/drawing/2014/main" id="{DE827C99-84AE-4466-AB4F-1B6ACE23CDC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149951" y="2990492"/>
                <a:ext cx="260354" cy="260354"/>
              </a:xfrm>
              <a:custGeom>
                <a:avLst/>
                <a:gdLst>
                  <a:gd name="T0" fmla="*/ 17 w 524"/>
                  <a:gd name="T1" fmla="*/ 308 h 525"/>
                  <a:gd name="T2" fmla="*/ 0 w 524"/>
                  <a:gd name="T3" fmla="*/ 222 h 525"/>
                  <a:gd name="T4" fmla="*/ 17 w 524"/>
                  <a:gd name="T5" fmla="*/ 136 h 525"/>
                  <a:gd name="T6" fmla="*/ 65 w 524"/>
                  <a:gd name="T7" fmla="*/ 65 h 525"/>
                  <a:gd name="T8" fmla="*/ 136 w 524"/>
                  <a:gd name="T9" fmla="*/ 18 h 525"/>
                  <a:gd name="T10" fmla="*/ 222 w 524"/>
                  <a:gd name="T11" fmla="*/ 0 h 525"/>
                  <a:gd name="T12" fmla="*/ 308 w 524"/>
                  <a:gd name="T13" fmla="*/ 18 h 525"/>
                  <a:gd name="T14" fmla="*/ 379 w 524"/>
                  <a:gd name="T15" fmla="*/ 65 h 525"/>
                  <a:gd name="T16" fmla="*/ 426 w 524"/>
                  <a:gd name="T17" fmla="*/ 136 h 525"/>
                  <a:gd name="T18" fmla="*/ 443 w 524"/>
                  <a:gd name="T19" fmla="*/ 222 h 525"/>
                  <a:gd name="T20" fmla="*/ 404 w 524"/>
                  <a:gd name="T21" fmla="*/ 348 h 525"/>
                  <a:gd name="T22" fmla="*/ 512 w 524"/>
                  <a:gd name="T23" fmla="*/ 456 h 525"/>
                  <a:gd name="T24" fmla="*/ 524 w 524"/>
                  <a:gd name="T25" fmla="*/ 484 h 525"/>
                  <a:gd name="T26" fmla="*/ 512 w 524"/>
                  <a:gd name="T27" fmla="*/ 513 h 525"/>
                  <a:gd name="T28" fmla="*/ 484 w 524"/>
                  <a:gd name="T29" fmla="*/ 525 h 525"/>
                  <a:gd name="T30" fmla="*/ 455 w 524"/>
                  <a:gd name="T31" fmla="*/ 513 h 525"/>
                  <a:gd name="T32" fmla="*/ 347 w 524"/>
                  <a:gd name="T33" fmla="*/ 405 h 525"/>
                  <a:gd name="T34" fmla="*/ 222 w 524"/>
                  <a:gd name="T35" fmla="*/ 444 h 525"/>
                  <a:gd name="T36" fmla="*/ 136 w 524"/>
                  <a:gd name="T37" fmla="*/ 426 h 525"/>
                  <a:gd name="T38" fmla="*/ 65 w 524"/>
                  <a:gd name="T39" fmla="*/ 379 h 525"/>
                  <a:gd name="T40" fmla="*/ 17 w 524"/>
                  <a:gd name="T41" fmla="*/ 308 h 525"/>
                  <a:gd name="T42" fmla="*/ 122 w 524"/>
                  <a:gd name="T43" fmla="*/ 122 h 525"/>
                  <a:gd name="T44" fmla="*/ 81 w 524"/>
                  <a:gd name="T45" fmla="*/ 222 h 525"/>
                  <a:gd name="T46" fmla="*/ 122 w 524"/>
                  <a:gd name="T47" fmla="*/ 322 h 525"/>
                  <a:gd name="T48" fmla="*/ 222 w 524"/>
                  <a:gd name="T49" fmla="*/ 363 h 525"/>
                  <a:gd name="T50" fmla="*/ 321 w 524"/>
                  <a:gd name="T51" fmla="*/ 322 h 525"/>
                  <a:gd name="T52" fmla="*/ 363 w 524"/>
                  <a:gd name="T53" fmla="*/ 222 h 525"/>
                  <a:gd name="T54" fmla="*/ 321 w 524"/>
                  <a:gd name="T55" fmla="*/ 122 h 525"/>
                  <a:gd name="T56" fmla="*/ 222 w 524"/>
                  <a:gd name="T57" fmla="*/ 81 h 525"/>
                  <a:gd name="T58" fmla="*/ 122 w 524"/>
                  <a:gd name="T59" fmla="*/ 122 h 5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524" h="525">
                    <a:moveTo>
                      <a:pt x="17" y="308"/>
                    </a:moveTo>
                    <a:cubicBezTo>
                      <a:pt x="6" y="281"/>
                      <a:pt x="0" y="252"/>
                      <a:pt x="0" y="222"/>
                    </a:cubicBezTo>
                    <a:cubicBezTo>
                      <a:pt x="0" y="192"/>
                      <a:pt x="6" y="163"/>
                      <a:pt x="17" y="136"/>
                    </a:cubicBezTo>
                    <a:cubicBezTo>
                      <a:pt x="29" y="109"/>
                      <a:pt x="45" y="85"/>
                      <a:pt x="65" y="65"/>
                    </a:cubicBezTo>
                    <a:cubicBezTo>
                      <a:pt x="85" y="45"/>
                      <a:pt x="108" y="30"/>
                      <a:pt x="136" y="18"/>
                    </a:cubicBezTo>
                    <a:cubicBezTo>
                      <a:pt x="163" y="6"/>
                      <a:pt x="192" y="0"/>
                      <a:pt x="222" y="0"/>
                    </a:cubicBezTo>
                    <a:cubicBezTo>
                      <a:pt x="252" y="0"/>
                      <a:pt x="280" y="6"/>
                      <a:pt x="308" y="18"/>
                    </a:cubicBezTo>
                    <a:cubicBezTo>
                      <a:pt x="335" y="30"/>
                      <a:pt x="359" y="45"/>
                      <a:pt x="379" y="65"/>
                    </a:cubicBezTo>
                    <a:cubicBezTo>
                      <a:pt x="399" y="85"/>
                      <a:pt x="414" y="109"/>
                      <a:pt x="426" y="136"/>
                    </a:cubicBezTo>
                    <a:cubicBezTo>
                      <a:pt x="438" y="163"/>
                      <a:pt x="443" y="192"/>
                      <a:pt x="443" y="222"/>
                    </a:cubicBezTo>
                    <a:cubicBezTo>
                      <a:pt x="443" y="268"/>
                      <a:pt x="430" y="310"/>
                      <a:pt x="404" y="348"/>
                    </a:cubicBezTo>
                    <a:lnTo>
                      <a:pt x="512" y="456"/>
                    </a:lnTo>
                    <a:cubicBezTo>
                      <a:pt x="520" y="464"/>
                      <a:pt x="524" y="473"/>
                      <a:pt x="524" y="484"/>
                    </a:cubicBezTo>
                    <a:cubicBezTo>
                      <a:pt x="524" y="495"/>
                      <a:pt x="520" y="505"/>
                      <a:pt x="512" y="513"/>
                    </a:cubicBezTo>
                    <a:cubicBezTo>
                      <a:pt x="504" y="521"/>
                      <a:pt x="495" y="525"/>
                      <a:pt x="484" y="525"/>
                    </a:cubicBezTo>
                    <a:cubicBezTo>
                      <a:pt x="472" y="525"/>
                      <a:pt x="463" y="521"/>
                      <a:pt x="455" y="513"/>
                    </a:cubicBezTo>
                    <a:lnTo>
                      <a:pt x="347" y="405"/>
                    </a:lnTo>
                    <a:cubicBezTo>
                      <a:pt x="310" y="431"/>
                      <a:pt x="268" y="444"/>
                      <a:pt x="222" y="444"/>
                    </a:cubicBezTo>
                    <a:cubicBezTo>
                      <a:pt x="192" y="444"/>
                      <a:pt x="163" y="438"/>
                      <a:pt x="136" y="426"/>
                    </a:cubicBezTo>
                    <a:cubicBezTo>
                      <a:pt x="108" y="415"/>
                      <a:pt x="85" y="399"/>
                      <a:pt x="65" y="379"/>
                    </a:cubicBezTo>
                    <a:cubicBezTo>
                      <a:pt x="45" y="359"/>
                      <a:pt x="29" y="336"/>
                      <a:pt x="17" y="308"/>
                    </a:cubicBezTo>
                    <a:close/>
                    <a:moveTo>
                      <a:pt x="122" y="122"/>
                    </a:moveTo>
                    <a:cubicBezTo>
                      <a:pt x="94" y="150"/>
                      <a:pt x="81" y="183"/>
                      <a:pt x="81" y="222"/>
                    </a:cubicBezTo>
                    <a:cubicBezTo>
                      <a:pt x="81" y="261"/>
                      <a:pt x="94" y="294"/>
                      <a:pt x="122" y="322"/>
                    </a:cubicBezTo>
                    <a:cubicBezTo>
                      <a:pt x="150" y="349"/>
                      <a:pt x="183" y="363"/>
                      <a:pt x="222" y="363"/>
                    </a:cubicBezTo>
                    <a:cubicBezTo>
                      <a:pt x="261" y="363"/>
                      <a:pt x="294" y="349"/>
                      <a:pt x="321" y="322"/>
                    </a:cubicBezTo>
                    <a:cubicBezTo>
                      <a:pt x="349" y="294"/>
                      <a:pt x="363" y="261"/>
                      <a:pt x="363" y="222"/>
                    </a:cubicBezTo>
                    <a:cubicBezTo>
                      <a:pt x="363" y="183"/>
                      <a:pt x="349" y="150"/>
                      <a:pt x="321" y="122"/>
                    </a:cubicBezTo>
                    <a:cubicBezTo>
                      <a:pt x="294" y="95"/>
                      <a:pt x="261" y="81"/>
                      <a:pt x="222" y="81"/>
                    </a:cubicBezTo>
                    <a:cubicBezTo>
                      <a:pt x="183" y="81"/>
                      <a:pt x="150" y="95"/>
                      <a:pt x="122" y="122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2400" dirty="0"/>
              </a:p>
            </p:txBody>
          </p:sp>
          <p:sp>
            <p:nvSpPr>
              <p:cNvPr id="50" name="Freeform 208">
                <a:extLst>
                  <a:ext uri="{FF2B5EF4-FFF2-40B4-BE49-F238E27FC236}">
                    <a16:creationId xmlns:a16="http://schemas.microsoft.com/office/drawing/2014/main" id="{3E08B6CB-1B99-4CF0-BC26-C75F7C992EB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80128" y="3251933"/>
                <a:ext cx="338001" cy="315030"/>
              </a:xfrm>
              <a:custGeom>
                <a:avLst/>
                <a:gdLst>
                  <a:gd name="T0" fmla="*/ 39 w 605"/>
                  <a:gd name="T1" fmla="*/ 162 h 565"/>
                  <a:gd name="T2" fmla="*/ 84 w 605"/>
                  <a:gd name="T3" fmla="*/ 182 h 565"/>
                  <a:gd name="T4" fmla="*/ 163 w 605"/>
                  <a:gd name="T5" fmla="*/ 181 h 565"/>
                  <a:gd name="T6" fmla="*/ 187 w 605"/>
                  <a:gd name="T7" fmla="*/ 283 h 565"/>
                  <a:gd name="T8" fmla="*/ 61 w 605"/>
                  <a:gd name="T9" fmla="*/ 323 h 565"/>
                  <a:gd name="T10" fmla="*/ 0 w 605"/>
                  <a:gd name="T11" fmla="*/ 273 h 565"/>
                  <a:gd name="T12" fmla="*/ 40 w 605"/>
                  <a:gd name="T13" fmla="*/ 81 h 565"/>
                  <a:gd name="T14" fmla="*/ 121 w 605"/>
                  <a:gd name="T15" fmla="*/ 0 h 565"/>
                  <a:gd name="T16" fmla="*/ 202 w 605"/>
                  <a:gd name="T17" fmla="*/ 81 h 565"/>
                  <a:gd name="T18" fmla="*/ 121 w 605"/>
                  <a:gd name="T19" fmla="*/ 162 h 565"/>
                  <a:gd name="T20" fmla="*/ 81 w 605"/>
                  <a:gd name="T21" fmla="*/ 483 h 565"/>
                  <a:gd name="T22" fmla="*/ 86 w 605"/>
                  <a:gd name="T23" fmla="*/ 416 h 565"/>
                  <a:gd name="T24" fmla="*/ 108 w 605"/>
                  <a:gd name="T25" fmla="*/ 351 h 565"/>
                  <a:gd name="T26" fmla="*/ 155 w 605"/>
                  <a:gd name="T27" fmla="*/ 309 h 565"/>
                  <a:gd name="T28" fmla="*/ 203 w 605"/>
                  <a:gd name="T29" fmla="*/ 309 h 565"/>
                  <a:gd name="T30" fmla="*/ 260 w 605"/>
                  <a:gd name="T31" fmla="*/ 340 h 565"/>
                  <a:gd name="T32" fmla="*/ 345 w 605"/>
                  <a:gd name="T33" fmla="*/ 340 h 565"/>
                  <a:gd name="T34" fmla="*/ 402 w 605"/>
                  <a:gd name="T35" fmla="*/ 309 h 565"/>
                  <a:gd name="T36" fmla="*/ 450 w 605"/>
                  <a:gd name="T37" fmla="*/ 309 h 565"/>
                  <a:gd name="T38" fmla="*/ 497 w 605"/>
                  <a:gd name="T39" fmla="*/ 351 h 565"/>
                  <a:gd name="T40" fmla="*/ 519 w 605"/>
                  <a:gd name="T41" fmla="*/ 416 h 565"/>
                  <a:gd name="T42" fmla="*/ 524 w 605"/>
                  <a:gd name="T43" fmla="*/ 483 h 565"/>
                  <a:gd name="T44" fmla="*/ 440 w 605"/>
                  <a:gd name="T45" fmla="*/ 565 h 565"/>
                  <a:gd name="T46" fmla="*/ 104 w 605"/>
                  <a:gd name="T47" fmla="*/ 543 h 565"/>
                  <a:gd name="T48" fmla="*/ 217 w 605"/>
                  <a:gd name="T49" fmla="*/ 287 h 565"/>
                  <a:gd name="T50" fmla="*/ 217 w 605"/>
                  <a:gd name="T51" fmla="*/ 116 h 565"/>
                  <a:gd name="T52" fmla="*/ 388 w 605"/>
                  <a:gd name="T53" fmla="*/ 116 h 565"/>
                  <a:gd name="T54" fmla="*/ 388 w 605"/>
                  <a:gd name="T55" fmla="*/ 287 h 565"/>
                  <a:gd name="T56" fmla="*/ 217 w 605"/>
                  <a:gd name="T57" fmla="*/ 287 h 565"/>
                  <a:gd name="T58" fmla="*/ 403 w 605"/>
                  <a:gd name="T59" fmla="*/ 81 h 565"/>
                  <a:gd name="T60" fmla="*/ 484 w 605"/>
                  <a:gd name="T61" fmla="*/ 0 h 565"/>
                  <a:gd name="T62" fmla="*/ 565 w 605"/>
                  <a:gd name="T63" fmla="*/ 81 h 565"/>
                  <a:gd name="T64" fmla="*/ 484 w 605"/>
                  <a:gd name="T65" fmla="*/ 162 h 565"/>
                  <a:gd name="T66" fmla="*/ 418 w 605"/>
                  <a:gd name="T67" fmla="*/ 283 h 565"/>
                  <a:gd name="T68" fmla="*/ 442 w 605"/>
                  <a:gd name="T69" fmla="*/ 181 h 565"/>
                  <a:gd name="T70" fmla="*/ 521 w 605"/>
                  <a:gd name="T71" fmla="*/ 182 h 565"/>
                  <a:gd name="T72" fmla="*/ 566 w 605"/>
                  <a:gd name="T73" fmla="*/ 162 h 565"/>
                  <a:gd name="T74" fmla="*/ 587 w 605"/>
                  <a:gd name="T75" fmla="*/ 310 h 565"/>
                  <a:gd name="T76" fmla="*/ 502 w 605"/>
                  <a:gd name="T77" fmla="*/ 323 h 5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605" h="565">
                    <a:moveTo>
                      <a:pt x="0" y="273"/>
                    </a:moveTo>
                    <a:cubicBezTo>
                      <a:pt x="0" y="199"/>
                      <a:pt x="13" y="162"/>
                      <a:pt x="39" y="162"/>
                    </a:cubicBezTo>
                    <a:cubicBezTo>
                      <a:pt x="40" y="162"/>
                      <a:pt x="45" y="164"/>
                      <a:pt x="53" y="168"/>
                    </a:cubicBezTo>
                    <a:cubicBezTo>
                      <a:pt x="61" y="173"/>
                      <a:pt x="71" y="177"/>
                      <a:pt x="84" y="182"/>
                    </a:cubicBezTo>
                    <a:cubicBezTo>
                      <a:pt x="96" y="186"/>
                      <a:pt x="109" y="188"/>
                      <a:pt x="121" y="188"/>
                    </a:cubicBezTo>
                    <a:cubicBezTo>
                      <a:pt x="135" y="188"/>
                      <a:pt x="149" y="186"/>
                      <a:pt x="163" y="181"/>
                    </a:cubicBezTo>
                    <a:cubicBezTo>
                      <a:pt x="162" y="189"/>
                      <a:pt x="161" y="196"/>
                      <a:pt x="161" y="202"/>
                    </a:cubicBezTo>
                    <a:cubicBezTo>
                      <a:pt x="161" y="231"/>
                      <a:pt x="170" y="258"/>
                      <a:pt x="187" y="283"/>
                    </a:cubicBezTo>
                    <a:cubicBezTo>
                      <a:pt x="153" y="284"/>
                      <a:pt x="125" y="297"/>
                      <a:pt x="103" y="323"/>
                    </a:cubicBezTo>
                    <a:lnTo>
                      <a:pt x="61" y="323"/>
                    </a:lnTo>
                    <a:cubicBezTo>
                      <a:pt x="44" y="323"/>
                      <a:pt x="29" y="319"/>
                      <a:pt x="18" y="310"/>
                    </a:cubicBezTo>
                    <a:cubicBezTo>
                      <a:pt x="6" y="302"/>
                      <a:pt x="0" y="289"/>
                      <a:pt x="0" y="273"/>
                    </a:cubicBezTo>
                    <a:close/>
                    <a:moveTo>
                      <a:pt x="64" y="138"/>
                    </a:moveTo>
                    <a:cubicBezTo>
                      <a:pt x="48" y="122"/>
                      <a:pt x="40" y="103"/>
                      <a:pt x="40" y="81"/>
                    </a:cubicBezTo>
                    <a:cubicBezTo>
                      <a:pt x="40" y="59"/>
                      <a:pt x="48" y="40"/>
                      <a:pt x="64" y="24"/>
                    </a:cubicBezTo>
                    <a:cubicBezTo>
                      <a:pt x="80" y="8"/>
                      <a:pt x="99" y="0"/>
                      <a:pt x="121" y="0"/>
                    </a:cubicBezTo>
                    <a:cubicBezTo>
                      <a:pt x="143" y="0"/>
                      <a:pt x="162" y="8"/>
                      <a:pt x="178" y="24"/>
                    </a:cubicBezTo>
                    <a:cubicBezTo>
                      <a:pt x="194" y="40"/>
                      <a:pt x="202" y="59"/>
                      <a:pt x="202" y="81"/>
                    </a:cubicBezTo>
                    <a:cubicBezTo>
                      <a:pt x="202" y="103"/>
                      <a:pt x="194" y="122"/>
                      <a:pt x="178" y="138"/>
                    </a:cubicBezTo>
                    <a:cubicBezTo>
                      <a:pt x="162" y="154"/>
                      <a:pt x="143" y="162"/>
                      <a:pt x="121" y="162"/>
                    </a:cubicBezTo>
                    <a:cubicBezTo>
                      <a:pt x="99" y="162"/>
                      <a:pt x="80" y="154"/>
                      <a:pt x="64" y="138"/>
                    </a:cubicBezTo>
                    <a:close/>
                    <a:moveTo>
                      <a:pt x="81" y="483"/>
                    </a:moveTo>
                    <a:cubicBezTo>
                      <a:pt x="81" y="472"/>
                      <a:pt x="81" y="461"/>
                      <a:pt x="82" y="451"/>
                    </a:cubicBezTo>
                    <a:cubicBezTo>
                      <a:pt x="83" y="440"/>
                      <a:pt x="84" y="429"/>
                      <a:pt x="86" y="416"/>
                    </a:cubicBezTo>
                    <a:cubicBezTo>
                      <a:pt x="88" y="404"/>
                      <a:pt x="91" y="393"/>
                      <a:pt x="95" y="382"/>
                    </a:cubicBezTo>
                    <a:cubicBezTo>
                      <a:pt x="98" y="372"/>
                      <a:pt x="102" y="361"/>
                      <a:pt x="108" y="351"/>
                    </a:cubicBezTo>
                    <a:cubicBezTo>
                      <a:pt x="114" y="341"/>
                      <a:pt x="120" y="333"/>
                      <a:pt x="128" y="326"/>
                    </a:cubicBezTo>
                    <a:cubicBezTo>
                      <a:pt x="135" y="319"/>
                      <a:pt x="144" y="313"/>
                      <a:pt x="155" y="309"/>
                    </a:cubicBezTo>
                    <a:cubicBezTo>
                      <a:pt x="165" y="305"/>
                      <a:pt x="177" y="303"/>
                      <a:pt x="190" y="303"/>
                    </a:cubicBezTo>
                    <a:cubicBezTo>
                      <a:pt x="192" y="303"/>
                      <a:pt x="196" y="305"/>
                      <a:pt x="203" y="309"/>
                    </a:cubicBezTo>
                    <a:cubicBezTo>
                      <a:pt x="210" y="314"/>
                      <a:pt x="218" y="319"/>
                      <a:pt x="226" y="325"/>
                    </a:cubicBezTo>
                    <a:cubicBezTo>
                      <a:pt x="235" y="330"/>
                      <a:pt x="246" y="335"/>
                      <a:pt x="260" y="340"/>
                    </a:cubicBezTo>
                    <a:cubicBezTo>
                      <a:pt x="274" y="344"/>
                      <a:pt x="288" y="346"/>
                      <a:pt x="302" y="346"/>
                    </a:cubicBezTo>
                    <a:cubicBezTo>
                      <a:pt x="317" y="346"/>
                      <a:pt x="331" y="344"/>
                      <a:pt x="345" y="340"/>
                    </a:cubicBezTo>
                    <a:cubicBezTo>
                      <a:pt x="359" y="335"/>
                      <a:pt x="370" y="330"/>
                      <a:pt x="379" y="325"/>
                    </a:cubicBezTo>
                    <a:cubicBezTo>
                      <a:pt x="387" y="319"/>
                      <a:pt x="395" y="314"/>
                      <a:pt x="402" y="309"/>
                    </a:cubicBezTo>
                    <a:cubicBezTo>
                      <a:pt x="409" y="305"/>
                      <a:pt x="413" y="303"/>
                      <a:pt x="415" y="303"/>
                    </a:cubicBezTo>
                    <a:cubicBezTo>
                      <a:pt x="428" y="303"/>
                      <a:pt x="440" y="305"/>
                      <a:pt x="450" y="309"/>
                    </a:cubicBezTo>
                    <a:cubicBezTo>
                      <a:pt x="461" y="313"/>
                      <a:pt x="470" y="319"/>
                      <a:pt x="477" y="326"/>
                    </a:cubicBezTo>
                    <a:cubicBezTo>
                      <a:pt x="485" y="333"/>
                      <a:pt x="491" y="341"/>
                      <a:pt x="497" y="351"/>
                    </a:cubicBezTo>
                    <a:cubicBezTo>
                      <a:pt x="502" y="361"/>
                      <a:pt x="507" y="372"/>
                      <a:pt x="510" y="382"/>
                    </a:cubicBezTo>
                    <a:cubicBezTo>
                      <a:pt x="514" y="393"/>
                      <a:pt x="516" y="404"/>
                      <a:pt x="519" y="416"/>
                    </a:cubicBezTo>
                    <a:cubicBezTo>
                      <a:pt x="521" y="429"/>
                      <a:pt x="522" y="440"/>
                      <a:pt x="523" y="451"/>
                    </a:cubicBezTo>
                    <a:cubicBezTo>
                      <a:pt x="524" y="461"/>
                      <a:pt x="524" y="472"/>
                      <a:pt x="524" y="483"/>
                    </a:cubicBezTo>
                    <a:cubicBezTo>
                      <a:pt x="524" y="508"/>
                      <a:pt x="517" y="528"/>
                      <a:pt x="501" y="543"/>
                    </a:cubicBezTo>
                    <a:cubicBezTo>
                      <a:pt x="486" y="557"/>
                      <a:pt x="466" y="565"/>
                      <a:pt x="440" y="565"/>
                    </a:cubicBezTo>
                    <a:lnTo>
                      <a:pt x="165" y="565"/>
                    </a:lnTo>
                    <a:cubicBezTo>
                      <a:pt x="139" y="565"/>
                      <a:pt x="119" y="557"/>
                      <a:pt x="104" y="543"/>
                    </a:cubicBezTo>
                    <a:cubicBezTo>
                      <a:pt x="88" y="528"/>
                      <a:pt x="81" y="508"/>
                      <a:pt x="81" y="483"/>
                    </a:cubicBezTo>
                    <a:close/>
                    <a:moveTo>
                      <a:pt x="217" y="287"/>
                    </a:moveTo>
                    <a:cubicBezTo>
                      <a:pt x="193" y="264"/>
                      <a:pt x="182" y="235"/>
                      <a:pt x="182" y="202"/>
                    </a:cubicBezTo>
                    <a:cubicBezTo>
                      <a:pt x="182" y="169"/>
                      <a:pt x="193" y="140"/>
                      <a:pt x="217" y="116"/>
                    </a:cubicBezTo>
                    <a:cubicBezTo>
                      <a:pt x="241" y="93"/>
                      <a:pt x="269" y="81"/>
                      <a:pt x="302" y="81"/>
                    </a:cubicBezTo>
                    <a:cubicBezTo>
                      <a:pt x="336" y="81"/>
                      <a:pt x="364" y="93"/>
                      <a:pt x="388" y="116"/>
                    </a:cubicBezTo>
                    <a:cubicBezTo>
                      <a:pt x="412" y="140"/>
                      <a:pt x="423" y="169"/>
                      <a:pt x="423" y="202"/>
                    </a:cubicBezTo>
                    <a:cubicBezTo>
                      <a:pt x="423" y="235"/>
                      <a:pt x="412" y="264"/>
                      <a:pt x="388" y="287"/>
                    </a:cubicBezTo>
                    <a:cubicBezTo>
                      <a:pt x="364" y="311"/>
                      <a:pt x="336" y="323"/>
                      <a:pt x="302" y="323"/>
                    </a:cubicBezTo>
                    <a:cubicBezTo>
                      <a:pt x="269" y="323"/>
                      <a:pt x="241" y="311"/>
                      <a:pt x="217" y="287"/>
                    </a:cubicBezTo>
                    <a:close/>
                    <a:moveTo>
                      <a:pt x="427" y="138"/>
                    </a:moveTo>
                    <a:cubicBezTo>
                      <a:pt x="411" y="122"/>
                      <a:pt x="403" y="103"/>
                      <a:pt x="403" y="81"/>
                    </a:cubicBezTo>
                    <a:cubicBezTo>
                      <a:pt x="403" y="59"/>
                      <a:pt x="411" y="40"/>
                      <a:pt x="427" y="24"/>
                    </a:cubicBezTo>
                    <a:cubicBezTo>
                      <a:pt x="443" y="8"/>
                      <a:pt x="462" y="0"/>
                      <a:pt x="484" y="0"/>
                    </a:cubicBezTo>
                    <a:cubicBezTo>
                      <a:pt x="506" y="0"/>
                      <a:pt x="525" y="8"/>
                      <a:pt x="541" y="24"/>
                    </a:cubicBezTo>
                    <a:cubicBezTo>
                      <a:pt x="557" y="40"/>
                      <a:pt x="565" y="59"/>
                      <a:pt x="565" y="81"/>
                    </a:cubicBezTo>
                    <a:cubicBezTo>
                      <a:pt x="565" y="103"/>
                      <a:pt x="557" y="122"/>
                      <a:pt x="541" y="138"/>
                    </a:cubicBezTo>
                    <a:cubicBezTo>
                      <a:pt x="525" y="154"/>
                      <a:pt x="506" y="162"/>
                      <a:pt x="484" y="162"/>
                    </a:cubicBezTo>
                    <a:cubicBezTo>
                      <a:pt x="462" y="162"/>
                      <a:pt x="443" y="154"/>
                      <a:pt x="427" y="138"/>
                    </a:cubicBezTo>
                    <a:close/>
                    <a:moveTo>
                      <a:pt x="418" y="283"/>
                    </a:moveTo>
                    <a:cubicBezTo>
                      <a:pt x="435" y="258"/>
                      <a:pt x="444" y="231"/>
                      <a:pt x="444" y="202"/>
                    </a:cubicBezTo>
                    <a:cubicBezTo>
                      <a:pt x="444" y="196"/>
                      <a:pt x="443" y="189"/>
                      <a:pt x="442" y="181"/>
                    </a:cubicBezTo>
                    <a:cubicBezTo>
                      <a:pt x="456" y="186"/>
                      <a:pt x="470" y="188"/>
                      <a:pt x="484" y="188"/>
                    </a:cubicBezTo>
                    <a:cubicBezTo>
                      <a:pt x="496" y="188"/>
                      <a:pt x="509" y="186"/>
                      <a:pt x="521" y="182"/>
                    </a:cubicBezTo>
                    <a:cubicBezTo>
                      <a:pt x="534" y="177"/>
                      <a:pt x="544" y="173"/>
                      <a:pt x="552" y="168"/>
                    </a:cubicBezTo>
                    <a:cubicBezTo>
                      <a:pt x="560" y="164"/>
                      <a:pt x="565" y="162"/>
                      <a:pt x="566" y="162"/>
                    </a:cubicBezTo>
                    <a:cubicBezTo>
                      <a:pt x="592" y="162"/>
                      <a:pt x="605" y="199"/>
                      <a:pt x="605" y="273"/>
                    </a:cubicBezTo>
                    <a:cubicBezTo>
                      <a:pt x="605" y="289"/>
                      <a:pt x="599" y="302"/>
                      <a:pt x="587" y="310"/>
                    </a:cubicBezTo>
                    <a:cubicBezTo>
                      <a:pt x="575" y="319"/>
                      <a:pt x="561" y="323"/>
                      <a:pt x="544" y="323"/>
                    </a:cubicBezTo>
                    <a:lnTo>
                      <a:pt x="502" y="323"/>
                    </a:lnTo>
                    <a:cubicBezTo>
                      <a:pt x="480" y="297"/>
                      <a:pt x="452" y="284"/>
                      <a:pt x="418" y="283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2400" dirty="0"/>
              </a:p>
            </p:txBody>
          </p:sp>
        </p:grpSp>
        <p:sp>
          <p:nvSpPr>
            <p:cNvPr id="37" name="Textfeld 36">
              <a:extLst>
                <a:ext uri="{FF2B5EF4-FFF2-40B4-BE49-F238E27FC236}">
                  <a16:creationId xmlns:a16="http://schemas.microsoft.com/office/drawing/2014/main" id="{0A7889CF-AAD8-4C42-BFAA-E94A8C620204}"/>
                </a:ext>
              </a:extLst>
            </p:cNvPr>
            <p:cNvSpPr txBox="1"/>
            <p:nvPr/>
          </p:nvSpPr>
          <p:spPr>
            <a:xfrm>
              <a:off x="6992069" y="3066029"/>
              <a:ext cx="2186247" cy="334717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r>
                <a:rPr lang="de-DE" sz="800" b="1" dirty="0"/>
                <a:t>3. Potenzial Analyse mit AM-Team</a:t>
              </a:r>
            </a:p>
          </p:txBody>
        </p:sp>
        <p:grpSp>
          <p:nvGrpSpPr>
            <p:cNvPr id="38" name="Gruppieren 37">
              <a:extLst>
                <a:ext uri="{FF2B5EF4-FFF2-40B4-BE49-F238E27FC236}">
                  <a16:creationId xmlns:a16="http://schemas.microsoft.com/office/drawing/2014/main" id="{5F010073-CE46-47D7-8451-EBC8878B343D}"/>
                </a:ext>
              </a:extLst>
            </p:cNvPr>
            <p:cNvGrpSpPr/>
            <p:nvPr/>
          </p:nvGrpSpPr>
          <p:grpSpPr>
            <a:xfrm>
              <a:off x="7582121" y="4114759"/>
              <a:ext cx="814159" cy="430788"/>
              <a:chOff x="2938680" y="2468064"/>
              <a:chExt cx="610619" cy="323091"/>
            </a:xfrm>
            <a:solidFill>
              <a:schemeClr val="tx1"/>
            </a:solidFill>
          </p:grpSpPr>
          <p:sp>
            <p:nvSpPr>
              <p:cNvPr id="46" name="Freeform 52">
                <a:extLst>
                  <a:ext uri="{FF2B5EF4-FFF2-40B4-BE49-F238E27FC236}">
                    <a16:creationId xmlns:a16="http://schemas.microsoft.com/office/drawing/2014/main" id="{1537ED06-118D-42EB-B1C7-6E3C4172DA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4832" y="2468064"/>
                <a:ext cx="154467" cy="119107"/>
              </a:xfrm>
              <a:custGeom>
                <a:avLst/>
                <a:gdLst>
                  <a:gd name="T0" fmla="*/ 9 w 488"/>
                  <a:gd name="T1" fmla="*/ 209 h 374"/>
                  <a:gd name="T2" fmla="*/ 0 w 488"/>
                  <a:gd name="T3" fmla="*/ 187 h 374"/>
                  <a:gd name="T4" fmla="*/ 9 w 488"/>
                  <a:gd name="T5" fmla="*/ 166 h 374"/>
                  <a:gd name="T6" fmla="*/ 52 w 488"/>
                  <a:gd name="T7" fmla="*/ 123 h 374"/>
                  <a:gd name="T8" fmla="*/ 73 w 488"/>
                  <a:gd name="T9" fmla="*/ 114 h 374"/>
                  <a:gd name="T10" fmla="*/ 94 w 488"/>
                  <a:gd name="T11" fmla="*/ 123 h 374"/>
                  <a:gd name="T12" fmla="*/ 187 w 488"/>
                  <a:gd name="T13" fmla="*/ 216 h 374"/>
                  <a:gd name="T14" fmla="*/ 394 w 488"/>
                  <a:gd name="T15" fmla="*/ 9 h 374"/>
                  <a:gd name="T16" fmla="*/ 415 w 488"/>
                  <a:gd name="T17" fmla="*/ 0 h 374"/>
                  <a:gd name="T18" fmla="*/ 436 w 488"/>
                  <a:gd name="T19" fmla="*/ 9 h 374"/>
                  <a:gd name="T20" fmla="*/ 479 w 488"/>
                  <a:gd name="T21" fmla="*/ 52 h 374"/>
                  <a:gd name="T22" fmla="*/ 488 w 488"/>
                  <a:gd name="T23" fmla="*/ 73 h 374"/>
                  <a:gd name="T24" fmla="*/ 479 w 488"/>
                  <a:gd name="T25" fmla="*/ 95 h 374"/>
                  <a:gd name="T26" fmla="*/ 251 w 488"/>
                  <a:gd name="T27" fmla="*/ 323 h 374"/>
                  <a:gd name="T28" fmla="*/ 208 w 488"/>
                  <a:gd name="T29" fmla="*/ 366 h 374"/>
                  <a:gd name="T30" fmla="*/ 187 w 488"/>
                  <a:gd name="T31" fmla="*/ 374 h 374"/>
                  <a:gd name="T32" fmla="*/ 166 w 488"/>
                  <a:gd name="T33" fmla="*/ 366 h 374"/>
                  <a:gd name="T34" fmla="*/ 123 w 488"/>
                  <a:gd name="T35" fmla="*/ 323 h 374"/>
                  <a:gd name="T36" fmla="*/ 9 w 488"/>
                  <a:gd name="T37" fmla="*/ 209 h 3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88" h="374">
                    <a:moveTo>
                      <a:pt x="9" y="209"/>
                    </a:moveTo>
                    <a:cubicBezTo>
                      <a:pt x="3" y="203"/>
                      <a:pt x="0" y="196"/>
                      <a:pt x="0" y="187"/>
                    </a:cubicBezTo>
                    <a:cubicBezTo>
                      <a:pt x="0" y="179"/>
                      <a:pt x="3" y="172"/>
                      <a:pt x="9" y="166"/>
                    </a:cubicBezTo>
                    <a:lnTo>
                      <a:pt x="52" y="123"/>
                    </a:lnTo>
                    <a:cubicBezTo>
                      <a:pt x="57" y="117"/>
                      <a:pt x="65" y="114"/>
                      <a:pt x="73" y="114"/>
                    </a:cubicBezTo>
                    <a:cubicBezTo>
                      <a:pt x="81" y="114"/>
                      <a:pt x="88" y="117"/>
                      <a:pt x="94" y="123"/>
                    </a:cubicBezTo>
                    <a:lnTo>
                      <a:pt x="187" y="216"/>
                    </a:lnTo>
                    <a:lnTo>
                      <a:pt x="394" y="9"/>
                    </a:lnTo>
                    <a:cubicBezTo>
                      <a:pt x="399" y="3"/>
                      <a:pt x="407" y="0"/>
                      <a:pt x="415" y="0"/>
                    </a:cubicBezTo>
                    <a:cubicBezTo>
                      <a:pt x="423" y="0"/>
                      <a:pt x="431" y="3"/>
                      <a:pt x="436" y="9"/>
                    </a:cubicBezTo>
                    <a:lnTo>
                      <a:pt x="479" y="52"/>
                    </a:lnTo>
                    <a:cubicBezTo>
                      <a:pt x="485" y="58"/>
                      <a:pt x="488" y="65"/>
                      <a:pt x="488" y="73"/>
                    </a:cubicBezTo>
                    <a:cubicBezTo>
                      <a:pt x="488" y="82"/>
                      <a:pt x="485" y="89"/>
                      <a:pt x="479" y="95"/>
                    </a:cubicBezTo>
                    <a:lnTo>
                      <a:pt x="251" y="323"/>
                    </a:lnTo>
                    <a:lnTo>
                      <a:pt x="208" y="366"/>
                    </a:lnTo>
                    <a:cubicBezTo>
                      <a:pt x="203" y="372"/>
                      <a:pt x="195" y="374"/>
                      <a:pt x="187" y="374"/>
                    </a:cubicBezTo>
                    <a:cubicBezTo>
                      <a:pt x="179" y="374"/>
                      <a:pt x="171" y="372"/>
                      <a:pt x="166" y="366"/>
                    </a:cubicBezTo>
                    <a:lnTo>
                      <a:pt x="123" y="323"/>
                    </a:lnTo>
                    <a:lnTo>
                      <a:pt x="9" y="209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2400" dirty="0"/>
              </a:p>
            </p:txBody>
          </p:sp>
          <p:sp>
            <p:nvSpPr>
              <p:cNvPr id="47" name="Freeform 53">
                <a:extLst>
                  <a:ext uri="{FF2B5EF4-FFF2-40B4-BE49-F238E27FC236}">
                    <a16:creationId xmlns:a16="http://schemas.microsoft.com/office/drawing/2014/main" id="{3A541F39-D0C9-4F06-A24F-F24C63992F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09722" y="2660027"/>
                <a:ext cx="119107" cy="117246"/>
              </a:xfrm>
              <a:custGeom>
                <a:avLst/>
                <a:gdLst>
                  <a:gd name="T0" fmla="*/ 9 w 374"/>
                  <a:gd name="T1" fmla="*/ 323 h 375"/>
                  <a:gd name="T2" fmla="*/ 0 w 374"/>
                  <a:gd name="T3" fmla="*/ 301 h 375"/>
                  <a:gd name="T4" fmla="*/ 9 w 374"/>
                  <a:gd name="T5" fmla="*/ 280 h 375"/>
                  <a:gd name="T6" fmla="*/ 101 w 374"/>
                  <a:gd name="T7" fmla="*/ 187 h 375"/>
                  <a:gd name="T8" fmla="*/ 9 w 374"/>
                  <a:gd name="T9" fmla="*/ 95 h 375"/>
                  <a:gd name="T10" fmla="*/ 0 w 374"/>
                  <a:gd name="T11" fmla="*/ 73 h 375"/>
                  <a:gd name="T12" fmla="*/ 9 w 374"/>
                  <a:gd name="T13" fmla="*/ 52 h 375"/>
                  <a:gd name="T14" fmla="*/ 51 w 374"/>
                  <a:gd name="T15" fmla="*/ 9 h 375"/>
                  <a:gd name="T16" fmla="*/ 73 w 374"/>
                  <a:gd name="T17" fmla="*/ 0 h 375"/>
                  <a:gd name="T18" fmla="*/ 94 w 374"/>
                  <a:gd name="T19" fmla="*/ 9 h 375"/>
                  <a:gd name="T20" fmla="*/ 187 w 374"/>
                  <a:gd name="T21" fmla="*/ 102 h 375"/>
                  <a:gd name="T22" fmla="*/ 280 w 374"/>
                  <a:gd name="T23" fmla="*/ 9 h 375"/>
                  <a:gd name="T24" fmla="*/ 301 w 374"/>
                  <a:gd name="T25" fmla="*/ 0 h 375"/>
                  <a:gd name="T26" fmla="*/ 322 w 374"/>
                  <a:gd name="T27" fmla="*/ 9 h 375"/>
                  <a:gd name="T28" fmla="*/ 365 w 374"/>
                  <a:gd name="T29" fmla="*/ 52 h 375"/>
                  <a:gd name="T30" fmla="*/ 374 w 374"/>
                  <a:gd name="T31" fmla="*/ 73 h 375"/>
                  <a:gd name="T32" fmla="*/ 365 w 374"/>
                  <a:gd name="T33" fmla="*/ 95 h 375"/>
                  <a:gd name="T34" fmla="*/ 273 w 374"/>
                  <a:gd name="T35" fmla="*/ 187 h 375"/>
                  <a:gd name="T36" fmla="*/ 365 w 374"/>
                  <a:gd name="T37" fmla="*/ 280 h 375"/>
                  <a:gd name="T38" fmla="*/ 374 w 374"/>
                  <a:gd name="T39" fmla="*/ 301 h 375"/>
                  <a:gd name="T40" fmla="*/ 365 w 374"/>
                  <a:gd name="T41" fmla="*/ 323 h 375"/>
                  <a:gd name="T42" fmla="*/ 322 w 374"/>
                  <a:gd name="T43" fmla="*/ 366 h 375"/>
                  <a:gd name="T44" fmla="*/ 301 w 374"/>
                  <a:gd name="T45" fmla="*/ 375 h 375"/>
                  <a:gd name="T46" fmla="*/ 280 w 374"/>
                  <a:gd name="T47" fmla="*/ 366 h 375"/>
                  <a:gd name="T48" fmla="*/ 187 w 374"/>
                  <a:gd name="T49" fmla="*/ 273 h 375"/>
                  <a:gd name="T50" fmla="*/ 94 w 374"/>
                  <a:gd name="T51" fmla="*/ 366 h 375"/>
                  <a:gd name="T52" fmla="*/ 73 w 374"/>
                  <a:gd name="T53" fmla="*/ 375 h 375"/>
                  <a:gd name="T54" fmla="*/ 51 w 374"/>
                  <a:gd name="T55" fmla="*/ 366 h 375"/>
                  <a:gd name="T56" fmla="*/ 9 w 374"/>
                  <a:gd name="T57" fmla="*/ 323 h 3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74" h="375">
                    <a:moveTo>
                      <a:pt x="9" y="323"/>
                    </a:moveTo>
                    <a:cubicBezTo>
                      <a:pt x="3" y="317"/>
                      <a:pt x="0" y="310"/>
                      <a:pt x="0" y="301"/>
                    </a:cubicBezTo>
                    <a:cubicBezTo>
                      <a:pt x="0" y="293"/>
                      <a:pt x="3" y="286"/>
                      <a:pt x="9" y="280"/>
                    </a:cubicBezTo>
                    <a:lnTo>
                      <a:pt x="101" y="187"/>
                    </a:lnTo>
                    <a:lnTo>
                      <a:pt x="9" y="95"/>
                    </a:lnTo>
                    <a:cubicBezTo>
                      <a:pt x="3" y="89"/>
                      <a:pt x="0" y="82"/>
                      <a:pt x="0" y="73"/>
                    </a:cubicBezTo>
                    <a:cubicBezTo>
                      <a:pt x="0" y="65"/>
                      <a:pt x="3" y="58"/>
                      <a:pt x="9" y="52"/>
                    </a:cubicBezTo>
                    <a:lnTo>
                      <a:pt x="51" y="9"/>
                    </a:lnTo>
                    <a:cubicBezTo>
                      <a:pt x="57" y="3"/>
                      <a:pt x="65" y="0"/>
                      <a:pt x="73" y="0"/>
                    </a:cubicBezTo>
                    <a:cubicBezTo>
                      <a:pt x="81" y="0"/>
                      <a:pt x="88" y="3"/>
                      <a:pt x="94" y="9"/>
                    </a:cubicBezTo>
                    <a:lnTo>
                      <a:pt x="187" y="102"/>
                    </a:lnTo>
                    <a:lnTo>
                      <a:pt x="280" y="9"/>
                    </a:lnTo>
                    <a:cubicBezTo>
                      <a:pt x="285" y="3"/>
                      <a:pt x="293" y="0"/>
                      <a:pt x="301" y="0"/>
                    </a:cubicBezTo>
                    <a:cubicBezTo>
                      <a:pt x="309" y="0"/>
                      <a:pt x="317" y="3"/>
                      <a:pt x="322" y="9"/>
                    </a:cubicBezTo>
                    <a:lnTo>
                      <a:pt x="365" y="52"/>
                    </a:lnTo>
                    <a:cubicBezTo>
                      <a:pt x="371" y="58"/>
                      <a:pt x="374" y="65"/>
                      <a:pt x="374" y="73"/>
                    </a:cubicBezTo>
                    <a:cubicBezTo>
                      <a:pt x="374" y="82"/>
                      <a:pt x="371" y="89"/>
                      <a:pt x="365" y="95"/>
                    </a:cubicBezTo>
                    <a:lnTo>
                      <a:pt x="273" y="187"/>
                    </a:lnTo>
                    <a:lnTo>
                      <a:pt x="365" y="280"/>
                    </a:lnTo>
                    <a:cubicBezTo>
                      <a:pt x="371" y="286"/>
                      <a:pt x="374" y="293"/>
                      <a:pt x="374" y="301"/>
                    </a:cubicBezTo>
                    <a:cubicBezTo>
                      <a:pt x="374" y="310"/>
                      <a:pt x="371" y="317"/>
                      <a:pt x="365" y="323"/>
                    </a:cubicBezTo>
                    <a:lnTo>
                      <a:pt x="322" y="366"/>
                    </a:lnTo>
                    <a:cubicBezTo>
                      <a:pt x="317" y="372"/>
                      <a:pt x="309" y="375"/>
                      <a:pt x="301" y="375"/>
                    </a:cubicBezTo>
                    <a:cubicBezTo>
                      <a:pt x="293" y="375"/>
                      <a:pt x="285" y="372"/>
                      <a:pt x="280" y="366"/>
                    </a:cubicBezTo>
                    <a:lnTo>
                      <a:pt x="187" y="273"/>
                    </a:lnTo>
                    <a:lnTo>
                      <a:pt x="94" y="366"/>
                    </a:lnTo>
                    <a:cubicBezTo>
                      <a:pt x="88" y="372"/>
                      <a:pt x="81" y="375"/>
                      <a:pt x="73" y="375"/>
                    </a:cubicBezTo>
                    <a:cubicBezTo>
                      <a:pt x="65" y="375"/>
                      <a:pt x="57" y="372"/>
                      <a:pt x="51" y="366"/>
                    </a:cubicBezTo>
                    <a:lnTo>
                      <a:pt x="9" y="323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2400" dirty="0"/>
              </a:p>
            </p:txBody>
          </p:sp>
          <p:sp>
            <p:nvSpPr>
              <p:cNvPr id="48" name="Freeform 160">
                <a:extLst>
                  <a:ext uri="{FF2B5EF4-FFF2-40B4-BE49-F238E27FC236}">
                    <a16:creationId xmlns:a16="http://schemas.microsoft.com/office/drawing/2014/main" id="{BDC315F9-EFA2-427D-AB2D-4FA86F4C471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938680" y="2473733"/>
                <a:ext cx="394842" cy="317422"/>
              </a:xfrm>
              <a:custGeom>
                <a:avLst/>
                <a:gdLst>
                  <a:gd name="T0" fmla="*/ 0 w 605"/>
                  <a:gd name="T1" fmla="*/ 433 h 484"/>
                  <a:gd name="T2" fmla="*/ 0 w 605"/>
                  <a:gd name="T3" fmla="*/ 50 h 484"/>
                  <a:gd name="T4" fmla="*/ 15 w 605"/>
                  <a:gd name="T5" fmla="*/ 15 h 484"/>
                  <a:gd name="T6" fmla="*/ 50 w 605"/>
                  <a:gd name="T7" fmla="*/ 0 h 484"/>
                  <a:gd name="T8" fmla="*/ 554 w 605"/>
                  <a:gd name="T9" fmla="*/ 0 h 484"/>
                  <a:gd name="T10" fmla="*/ 590 w 605"/>
                  <a:gd name="T11" fmla="*/ 15 h 484"/>
                  <a:gd name="T12" fmla="*/ 605 w 605"/>
                  <a:gd name="T13" fmla="*/ 50 h 484"/>
                  <a:gd name="T14" fmla="*/ 605 w 605"/>
                  <a:gd name="T15" fmla="*/ 433 h 484"/>
                  <a:gd name="T16" fmla="*/ 590 w 605"/>
                  <a:gd name="T17" fmla="*/ 469 h 484"/>
                  <a:gd name="T18" fmla="*/ 554 w 605"/>
                  <a:gd name="T19" fmla="*/ 484 h 484"/>
                  <a:gd name="T20" fmla="*/ 50 w 605"/>
                  <a:gd name="T21" fmla="*/ 484 h 484"/>
                  <a:gd name="T22" fmla="*/ 15 w 605"/>
                  <a:gd name="T23" fmla="*/ 469 h 484"/>
                  <a:gd name="T24" fmla="*/ 0 w 605"/>
                  <a:gd name="T25" fmla="*/ 433 h 484"/>
                  <a:gd name="T26" fmla="*/ 40 w 605"/>
                  <a:gd name="T27" fmla="*/ 433 h 484"/>
                  <a:gd name="T28" fmla="*/ 43 w 605"/>
                  <a:gd name="T29" fmla="*/ 441 h 484"/>
                  <a:gd name="T30" fmla="*/ 50 w 605"/>
                  <a:gd name="T31" fmla="*/ 444 h 484"/>
                  <a:gd name="T32" fmla="*/ 554 w 605"/>
                  <a:gd name="T33" fmla="*/ 444 h 484"/>
                  <a:gd name="T34" fmla="*/ 562 w 605"/>
                  <a:gd name="T35" fmla="*/ 441 h 484"/>
                  <a:gd name="T36" fmla="*/ 565 w 605"/>
                  <a:gd name="T37" fmla="*/ 433 h 484"/>
                  <a:gd name="T38" fmla="*/ 565 w 605"/>
                  <a:gd name="T39" fmla="*/ 50 h 484"/>
                  <a:gd name="T40" fmla="*/ 562 w 605"/>
                  <a:gd name="T41" fmla="*/ 43 h 484"/>
                  <a:gd name="T42" fmla="*/ 554 w 605"/>
                  <a:gd name="T43" fmla="*/ 40 h 484"/>
                  <a:gd name="T44" fmla="*/ 50 w 605"/>
                  <a:gd name="T45" fmla="*/ 40 h 484"/>
                  <a:gd name="T46" fmla="*/ 43 w 605"/>
                  <a:gd name="T47" fmla="*/ 43 h 484"/>
                  <a:gd name="T48" fmla="*/ 40 w 605"/>
                  <a:gd name="T49" fmla="*/ 50 h 484"/>
                  <a:gd name="T50" fmla="*/ 40 w 605"/>
                  <a:gd name="T51" fmla="*/ 433 h 484"/>
                  <a:gd name="T52" fmla="*/ 81 w 605"/>
                  <a:gd name="T53" fmla="*/ 403 h 484"/>
                  <a:gd name="T54" fmla="*/ 81 w 605"/>
                  <a:gd name="T55" fmla="*/ 282 h 484"/>
                  <a:gd name="T56" fmla="*/ 161 w 605"/>
                  <a:gd name="T57" fmla="*/ 282 h 484"/>
                  <a:gd name="T58" fmla="*/ 161 w 605"/>
                  <a:gd name="T59" fmla="*/ 403 h 484"/>
                  <a:gd name="T60" fmla="*/ 81 w 605"/>
                  <a:gd name="T61" fmla="*/ 403 h 484"/>
                  <a:gd name="T62" fmla="*/ 202 w 605"/>
                  <a:gd name="T63" fmla="*/ 403 h 484"/>
                  <a:gd name="T64" fmla="*/ 202 w 605"/>
                  <a:gd name="T65" fmla="*/ 121 h 484"/>
                  <a:gd name="T66" fmla="*/ 282 w 605"/>
                  <a:gd name="T67" fmla="*/ 121 h 484"/>
                  <a:gd name="T68" fmla="*/ 282 w 605"/>
                  <a:gd name="T69" fmla="*/ 403 h 484"/>
                  <a:gd name="T70" fmla="*/ 202 w 605"/>
                  <a:gd name="T71" fmla="*/ 403 h 484"/>
                  <a:gd name="T72" fmla="*/ 323 w 605"/>
                  <a:gd name="T73" fmla="*/ 403 h 484"/>
                  <a:gd name="T74" fmla="*/ 323 w 605"/>
                  <a:gd name="T75" fmla="*/ 202 h 484"/>
                  <a:gd name="T76" fmla="*/ 403 w 605"/>
                  <a:gd name="T77" fmla="*/ 202 h 484"/>
                  <a:gd name="T78" fmla="*/ 403 w 605"/>
                  <a:gd name="T79" fmla="*/ 403 h 484"/>
                  <a:gd name="T80" fmla="*/ 323 w 605"/>
                  <a:gd name="T81" fmla="*/ 403 h 484"/>
                  <a:gd name="T82" fmla="*/ 444 w 605"/>
                  <a:gd name="T83" fmla="*/ 403 h 484"/>
                  <a:gd name="T84" fmla="*/ 444 w 605"/>
                  <a:gd name="T85" fmla="*/ 81 h 484"/>
                  <a:gd name="T86" fmla="*/ 524 w 605"/>
                  <a:gd name="T87" fmla="*/ 81 h 484"/>
                  <a:gd name="T88" fmla="*/ 524 w 605"/>
                  <a:gd name="T89" fmla="*/ 403 h 484"/>
                  <a:gd name="T90" fmla="*/ 444 w 605"/>
                  <a:gd name="T91" fmla="*/ 403 h 4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605" h="484">
                    <a:moveTo>
                      <a:pt x="0" y="433"/>
                    </a:moveTo>
                    <a:lnTo>
                      <a:pt x="0" y="50"/>
                    </a:lnTo>
                    <a:cubicBezTo>
                      <a:pt x="0" y="37"/>
                      <a:pt x="5" y="25"/>
                      <a:pt x="15" y="15"/>
                    </a:cubicBezTo>
                    <a:cubicBezTo>
                      <a:pt x="25" y="5"/>
                      <a:pt x="37" y="0"/>
                      <a:pt x="50" y="0"/>
                    </a:cubicBezTo>
                    <a:lnTo>
                      <a:pt x="554" y="0"/>
                    </a:lnTo>
                    <a:cubicBezTo>
                      <a:pt x="568" y="0"/>
                      <a:pt x="580" y="5"/>
                      <a:pt x="590" y="15"/>
                    </a:cubicBezTo>
                    <a:cubicBezTo>
                      <a:pt x="600" y="25"/>
                      <a:pt x="605" y="37"/>
                      <a:pt x="605" y="50"/>
                    </a:cubicBezTo>
                    <a:lnTo>
                      <a:pt x="605" y="433"/>
                    </a:lnTo>
                    <a:cubicBezTo>
                      <a:pt x="605" y="447"/>
                      <a:pt x="600" y="459"/>
                      <a:pt x="590" y="469"/>
                    </a:cubicBezTo>
                    <a:cubicBezTo>
                      <a:pt x="580" y="479"/>
                      <a:pt x="568" y="484"/>
                      <a:pt x="554" y="484"/>
                    </a:cubicBezTo>
                    <a:lnTo>
                      <a:pt x="50" y="484"/>
                    </a:lnTo>
                    <a:cubicBezTo>
                      <a:pt x="37" y="484"/>
                      <a:pt x="25" y="479"/>
                      <a:pt x="15" y="469"/>
                    </a:cubicBezTo>
                    <a:cubicBezTo>
                      <a:pt x="5" y="459"/>
                      <a:pt x="0" y="447"/>
                      <a:pt x="0" y="433"/>
                    </a:cubicBezTo>
                    <a:close/>
                    <a:moveTo>
                      <a:pt x="40" y="433"/>
                    </a:moveTo>
                    <a:cubicBezTo>
                      <a:pt x="40" y="436"/>
                      <a:pt x="41" y="439"/>
                      <a:pt x="43" y="441"/>
                    </a:cubicBezTo>
                    <a:cubicBezTo>
                      <a:pt x="45" y="443"/>
                      <a:pt x="48" y="444"/>
                      <a:pt x="50" y="444"/>
                    </a:cubicBezTo>
                    <a:lnTo>
                      <a:pt x="554" y="444"/>
                    </a:lnTo>
                    <a:cubicBezTo>
                      <a:pt x="557" y="444"/>
                      <a:pt x="560" y="443"/>
                      <a:pt x="562" y="441"/>
                    </a:cubicBezTo>
                    <a:cubicBezTo>
                      <a:pt x="564" y="439"/>
                      <a:pt x="565" y="436"/>
                      <a:pt x="565" y="433"/>
                    </a:cubicBezTo>
                    <a:lnTo>
                      <a:pt x="565" y="50"/>
                    </a:lnTo>
                    <a:cubicBezTo>
                      <a:pt x="565" y="48"/>
                      <a:pt x="564" y="45"/>
                      <a:pt x="562" y="43"/>
                    </a:cubicBezTo>
                    <a:cubicBezTo>
                      <a:pt x="560" y="41"/>
                      <a:pt x="557" y="40"/>
                      <a:pt x="554" y="40"/>
                    </a:cubicBezTo>
                    <a:lnTo>
                      <a:pt x="50" y="40"/>
                    </a:lnTo>
                    <a:cubicBezTo>
                      <a:pt x="48" y="40"/>
                      <a:pt x="45" y="41"/>
                      <a:pt x="43" y="43"/>
                    </a:cubicBezTo>
                    <a:cubicBezTo>
                      <a:pt x="41" y="45"/>
                      <a:pt x="40" y="48"/>
                      <a:pt x="40" y="50"/>
                    </a:cubicBezTo>
                    <a:lnTo>
                      <a:pt x="40" y="433"/>
                    </a:lnTo>
                    <a:close/>
                    <a:moveTo>
                      <a:pt x="81" y="403"/>
                    </a:moveTo>
                    <a:lnTo>
                      <a:pt x="81" y="282"/>
                    </a:lnTo>
                    <a:lnTo>
                      <a:pt x="161" y="282"/>
                    </a:lnTo>
                    <a:lnTo>
                      <a:pt x="161" y="403"/>
                    </a:lnTo>
                    <a:lnTo>
                      <a:pt x="81" y="403"/>
                    </a:lnTo>
                    <a:close/>
                    <a:moveTo>
                      <a:pt x="202" y="403"/>
                    </a:moveTo>
                    <a:lnTo>
                      <a:pt x="202" y="121"/>
                    </a:lnTo>
                    <a:lnTo>
                      <a:pt x="282" y="121"/>
                    </a:lnTo>
                    <a:lnTo>
                      <a:pt x="282" y="403"/>
                    </a:lnTo>
                    <a:lnTo>
                      <a:pt x="202" y="403"/>
                    </a:lnTo>
                    <a:close/>
                    <a:moveTo>
                      <a:pt x="323" y="403"/>
                    </a:moveTo>
                    <a:lnTo>
                      <a:pt x="323" y="202"/>
                    </a:lnTo>
                    <a:lnTo>
                      <a:pt x="403" y="202"/>
                    </a:lnTo>
                    <a:lnTo>
                      <a:pt x="403" y="403"/>
                    </a:lnTo>
                    <a:lnTo>
                      <a:pt x="323" y="403"/>
                    </a:lnTo>
                    <a:close/>
                    <a:moveTo>
                      <a:pt x="444" y="403"/>
                    </a:moveTo>
                    <a:lnTo>
                      <a:pt x="444" y="81"/>
                    </a:lnTo>
                    <a:lnTo>
                      <a:pt x="524" y="81"/>
                    </a:lnTo>
                    <a:lnTo>
                      <a:pt x="524" y="403"/>
                    </a:lnTo>
                    <a:lnTo>
                      <a:pt x="444" y="403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2400" dirty="0"/>
              </a:p>
            </p:txBody>
          </p:sp>
        </p:grpSp>
        <p:sp>
          <p:nvSpPr>
            <p:cNvPr id="39" name="Textfeld 38">
              <a:extLst>
                <a:ext uri="{FF2B5EF4-FFF2-40B4-BE49-F238E27FC236}">
                  <a16:creationId xmlns:a16="http://schemas.microsoft.com/office/drawing/2014/main" id="{DB7C8A73-15A2-4F5D-B21C-447DAA657A36}"/>
                </a:ext>
              </a:extLst>
            </p:cNvPr>
            <p:cNvSpPr txBox="1"/>
            <p:nvPr/>
          </p:nvSpPr>
          <p:spPr>
            <a:xfrm>
              <a:off x="9549584" y="3066029"/>
              <a:ext cx="1395643" cy="334717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>
                <a:buSzPct val="100000"/>
              </a:pPr>
              <a:r>
                <a:rPr lang="de-DE" sz="800" b="1" dirty="0"/>
                <a:t>4.Prototypen</a:t>
              </a:r>
            </a:p>
          </p:txBody>
        </p:sp>
        <p:grpSp>
          <p:nvGrpSpPr>
            <p:cNvPr id="40" name="Gruppieren 39">
              <a:extLst>
                <a:ext uri="{FF2B5EF4-FFF2-40B4-BE49-F238E27FC236}">
                  <a16:creationId xmlns:a16="http://schemas.microsoft.com/office/drawing/2014/main" id="{A68AFBB4-9A08-431F-87C3-545BA1C656A1}"/>
                </a:ext>
              </a:extLst>
            </p:cNvPr>
            <p:cNvGrpSpPr/>
            <p:nvPr/>
          </p:nvGrpSpPr>
          <p:grpSpPr>
            <a:xfrm>
              <a:off x="9775994" y="4114759"/>
              <a:ext cx="893977" cy="355959"/>
              <a:chOff x="2751006" y="1747604"/>
              <a:chExt cx="670483" cy="266969"/>
            </a:xfrm>
            <a:solidFill>
              <a:schemeClr val="tx1"/>
            </a:solidFill>
          </p:grpSpPr>
          <p:sp>
            <p:nvSpPr>
              <p:cNvPr id="44" name="Freeform 106">
                <a:extLst>
                  <a:ext uri="{FF2B5EF4-FFF2-40B4-BE49-F238E27FC236}">
                    <a16:creationId xmlns:a16="http://schemas.microsoft.com/office/drawing/2014/main" id="{B2EC2495-F4F4-4AEA-8A35-DFDB2B1F7F0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193764" y="1777312"/>
                <a:ext cx="227725" cy="191901"/>
              </a:xfrm>
              <a:custGeom>
                <a:avLst/>
                <a:gdLst>
                  <a:gd name="T0" fmla="*/ 0 w 524"/>
                  <a:gd name="T1" fmla="*/ 353 h 443"/>
                  <a:gd name="T2" fmla="*/ 0 w 524"/>
                  <a:gd name="T3" fmla="*/ 91 h 443"/>
                  <a:gd name="T4" fmla="*/ 27 w 524"/>
                  <a:gd name="T5" fmla="*/ 27 h 443"/>
                  <a:gd name="T6" fmla="*/ 91 w 524"/>
                  <a:gd name="T7" fmla="*/ 0 h 443"/>
                  <a:gd name="T8" fmla="*/ 353 w 524"/>
                  <a:gd name="T9" fmla="*/ 0 h 443"/>
                  <a:gd name="T10" fmla="*/ 390 w 524"/>
                  <a:gd name="T11" fmla="*/ 8 h 443"/>
                  <a:gd name="T12" fmla="*/ 396 w 524"/>
                  <a:gd name="T13" fmla="*/ 15 h 443"/>
                  <a:gd name="T14" fmla="*/ 393 w 524"/>
                  <a:gd name="T15" fmla="*/ 24 h 443"/>
                  <a:gd name="T16" fmla="*/ 377 w 524"/>
                  <a:gd name="T17" fmla="*/ 40 h 443"/>
                  <a:gd name="T18" fmla="*/ 370 w 524"/>
                  <a:gd name="T19" fmla="*/ 43 h 443"/>
                  <a:gd name="T20" fmla="*/ 367 w 524"/>
                  <a:gd name="T21" fmla="*/ 42 h 443"/>
                  <a:gd name="T22" fmla="*/ 353 w 524"/>
                  <a:gd name="T23" fmla="*/ 40 h 443"/>
                  <a:gd name="T24" fmla="*/ 91 w 524"/>
                  <a:gd name="T25" fmla="*/ 40 h 443"/>
                  <a:gd name="T26" fmla="*/ 55 w 524"/>
                  <a:gd name="T27" fmla="*/ 55 h 443"/>
                  <a:gd name="T28" fmla="*/ 41 w 524"/>
                  <a:gd name="T29" fmla="*/ 91 h 443"/>
                  <a:gd name="T30" fmla="*/ 41 w 524"/>
                  <a:gd name="T31" fmla="*/ 353 h 443"/>
                  <a:gd name="T32" fmla="*/ 55 w 524"/>
                  <a:gd name="T33" fmla="*/ 388 h 443"/>
                  <a:gd name="T34" fmla="*/ 91 w 524"/>
                  <a:gd name="T35" fmla="*/ 403 h 443"/>
                  <a:gd name="T36" fmla="*/ 353 w 524"/>
                  <a:gd name="T37" fmla="*/ 403 h 443"/>
                  <a:gd name="T38" fmla="*/ 389 w 524"/>
                  <a:gd name="T39" fmla="*/ 388 h 443"/>
                  <a:gd name="T40" fmla="*/ 403 w 524"/>
                  <a:gd name="T41" fmla="*/ 353 h 443"/>
                  <a:gd name="T42" fmla="*/ 403 w 524"/>
                  <a:gd name="T43" fmla="*/ 273 h 443"/>
                  <a:gd name="T44" fmla="*/ 406 w 524"/>
                  <a:gd name="T45" fmla="*/ 266 h 443"/>
                  <a:gd name="T46" fmla="*/ 426 w 524"/>
                  <a:gd name="T47" fmla="*/ 246 h 443"/>
                  <a:gd name="T48" fmla="*/ 434 w 524"/>
                  <a:gd name="T49" fmla="*/ 243 h 443"/>
                  <a:gd name="T50" fmla="*/ 437 w 524"/>
                  <a:gd name="T51" fmla="*/ 243 h 443"/>
                  <a:gd name="T52" fmla="*/ 444 w 524"/>
                  <a:gd name="T53" fmla="*/ 253 h 443"/>
                  <a:gd name="T54" fmla="*/ 444 w 524"/>
                  <a:gd name="T55" fmla="*/ 353 h 443"/>
                  <a:gd name="T56" fmla="*/ 417 w 524"/>
                  <a:gd name="T57" fmla="*/ 417 h 443"/>
                  <a:gd name="T58" fmla="*/ 353 w 524"/>
                  <a:gd name="T59" fmla="*/ 443 h 443"/>
                  <a:gd name="T60" fmla="*/ 91 w 524"/>
                  <a:gd name="T61" fmla="*/ 443 h 443"/>
                  <a:gd name="T62" fmla="*/ 27 w 524"/>
                  <a:gd name="T63" fmla="*/ 417 h 443"/>
                  <a:gd name="T64" fmla="*/ 0 w 524"/>
                  <a:gd name="T65" fmla="*/ 353 h 443"/>
                  <a:gd name="T66" fmla="*/ 89 w 524"/>
                  <a:gd name="T67" fmla="*/ 220 h 443"/>
                  <a:gd name="T68" fmla="*/ 81 w 524"/>
                  <a:gd name="T69" fmla="*/ 202 h 443"/>
                  <a:gd name="T70" fmla="*/ 89 w 524"/>
                  <a:gd name="T71" fmla="*/ 184 h 443"/>
                  <a:gd name="T72" fmla="*/ 123 w 524"/>
                  <a:gd name="T73" fmla="*/ 149 h 443"/>
                  <a:gd name="T74" fmla="*/ 141 w 524"/>
                  <a:gd name="T75" fmla="*/ 141 h 443"/>
                  <a:gd name="T76" fmla="*/ 159 w 524"/>
                  <a:gd name="T77" fmla="*/ 149 h 443"/>
                  <a:gd name="T78" fmla="*/ 242 w 524"/>
                  <a:gd name="T79" fmla="*/ 232 h 443"/>
                  <a:gd name="T80" fmla="*/ 446 w 524"/>
                  <a:gd name="T81" fmla="*/ 28 h 443"/>
                  <a:gd name="T82" fmla="*/ 464 w 524"/>
                  <a:gd name="T83" fmla="*/ 20 h 443"/>
                  <a:gd name="T84" fmla="*/ 482 w 524"/>
                  <a:gd name="T85" fmla="*/ 28 h 443"/>
                  <a:gd name="T86" fmla="*/ 516 w 524"/>
                  <a:gd name="T87" fmla="*/ 63 h 443"/>
                  <a:gd name="T88" fmla="*/ 524 w 524"/>
                  <a:gd name="T89" fmla="*/ 81 h 443"/>
                  <a:gd name="T90" fmla="*/ 516 w 524"/>
                  <a:gd name="T91" fmla="*/ 99 h 443"/>
                  <a:gd name="T92" fmla="*/ 260 w 524"/>
                  <a:gd name="T93" fmla="*/ 355 h 443"/>
                  <a:gd name="T94" fmla="*/ 242 w 524"/>
                  <a:gd name="T95" fmla="*/ 363 h 443"/>
                  <a:gd name="T96" fmla="*/ 224 w 524"/>
                  <a:gd name="T97" fmla="*/ 355 h 443"/>
                  <a:gd name="T98" fmla="*/ 89 w 524"/>
                  <a:gd name="T99" fmla="*/ 220 h 4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524" h="443">
                    <a:moveTo>
                      <a:pt x="0" y="353"/>
                    </a:moveTo>
                    <a:lnTo>
                      <a:pt x="0" y="91"/>
                    </a:lnTo>
                    <a:cubicBezTo>
                      <a:pt x="0" y="66"/>
                      <a:pt x="9" y="44"/>
                      <a:pt x="27" y="27"/>
                    </a:cubicBezTo>
                    <a:cubicBezTo>
                      <a:pt x="45" y="9"/>
                      <a:pt x="66" y="0"/>
                      <a:pt x="91" y="0"/>
                    </a:cubicBezTo>
                    <a:lnTo>
                      <a:pt x="353" y="0"/>
                    </a:lnTo>
                    <a:cubicBezTo>
                      <a:pt x="366" y="0"/>
                      <a:pt x="379" y="3"/>
                      <a:pt x="390" y="8"/>
                    </a:cubicBezTo>
                    <a:cubicBezTo>
                      <a:pt x="393" y="9"/>
                      <a:pt x="395" y="12"/>
                      <a:pt x="396" y="15"/>
                    </a:cubicBezTo>
                    <a:cubicBezTo>
                      <a:pt x="396" y="19"/>
                      <a:pt x="395" y="22"/>
                      <a:pt x="393" y="24"/>
                    </a:cubicBezTo>
                    <a:lnTo>
                      <a:pt x="377" y="40"/>
                    </a:lnTo>
                    <a:cubicBezTo>
                      <a:pt x="375" y="42"/>
                      <a:pt x="373" y="43"/>
                      <a:pt x="370" y="43"/>
                    </a:cubicBezTo>
                    <a:cubicBezTo>
                      <a:pt x="369" y="43"/>
                      <a:pt x="368" y="43"/>
                      <a:pt x="367" y="42"/>
                    </a:cubicBezTo>
                    <a:cubicBezTo>
                      <a:pt x="362" y="41"/>
                      <a:pt x="358" y="40"/>
                      <a:pt x="353" y="40"/>
                    </a:cubicBezTo>
                    <a:lnTo>
                      <a:pt x="91" y="40"/>
                    </a:lnTo>
                    <a:cubicBezTo>
                      <a:pt x="77" y="40"/>
                      <a:pt x="65" y="45"/>
                      <a:pt x="55" y="55"/>
                    </a:cubicBezTo>
                    <a:cubicBezTo>
                      <a:pt x="46" y="65"/>
                      <a:pt x="41" y="77"/>
                      <a:pt x="41" y="91"/>
                    </a:cubicBezTo>
                    <a:lnTo>
                      <a:pt x="41" y="353"/>
                    </a:lnTo>
                    <a:cubicBezTo>
                      <a:pt x="41" y="367"/>
                      <a:pt x="46" y="378"/>
                      <a:pt x="55" y="388"/>
                    </a:cubicBezTo>
                    <a:cubicBezTo>
                      <a:pt x="65" y="398"/>
                      <a:pt x="77" y="403"/>
                      <a:pt x="91" y="403"/>
                    </a:cubicBezTo>
                    <a:lnTo>
                      <a:pt x="353" y="403"/>
                    </a:lnTo>
                    <a:cubicBezTo>
                      <a:pt x="367" y="403"/>
                      <a:pt x="379" y="398"/>
                      <a:pt x="389" y="388"/>
                    </a:cubicBezTo>
                    <a:cubicBezTo>
                      <a:pt x="398" y="378"/>
                      <a:pt x="403" y="367"/>
                      <a:pt x="403" y="353"/>
                    </a:cubicBezTo>
                    <a:lnTo>
                      <a:pt x="403" y="273"/>
                    </a:lnTo>
                    <a:cubicBezTo>
                      <a:pt x="403" y="270"/>
                      <a:pt x="404" y="268"/>
                      <a:pt x="406" y="266"/>
                    </a:cubicBezTo>
                    <a:lnTo>
                      <a:pt x="426" y="246"/>
                    </a:lnTo>
                    <a:cubicBezTo>
                      <a:pt x="429" y="244"/>
                      <a:pt x="431" y="243"/>
                      <a:pt x="434" y="243"/>
                    </a:cubicBezTo>
                    <a:cubicBezTo>
                      <a:pt x="435" y="243"/>
                      <a:pt x="436" y="243"/>
                      <a:pt x="437" y="243"/>
                    </a:cubicBezTo>
                    <a:cubicBezTo>
                      <a:pt x="442" y="245"/>
                      <a:pt x="444" y="248"/>
                      <a:pt x="444" y="253"/>
                    </a:cubicBezTo>
                    <a:lnTo>
                      <a:pt x="444" y="353"/>
                    </a:lnTo>
                    <a:cubicBezTo>
                      <a:pt x="444" y="378"/>
                      <a:pt x="435" y="399"/>
                      <a:pt x="417" y="417"/>
                    </a:cubicBezTo>
                    <a:cubicBezTo>
                      <a:pt x="399" y="435"/>
                      <a:pt x="378" y="443"/>
                      <a:pt x="353" y="443"/>
                    </a:cubicBezTo>
                    <a:lnTo>
                      <a:pt x="91" y="443"/>
                    </a:lnTo>
                    <a:cubicBezTo>
                      <a:pt x="66" y="443"/>
                      <a:pt x="45" y="435"/>
                      <a:pt x="27" y="417"/>
                    </a:cubicBezTo>
                    <a:cubicBezTo>
                      <a:pt x="9" y="399"/>
                      <a:pt x="0" y="378"/>
                      <a:pt x="0" y="353"/>
                    </a:cubicBezTo>
                    <a:close/>
                    <a:moveTo>
                      <a:pt x="89" y="220"/>
                    </a:moveTo>
                    <a:cubicBezTo>
                      <a:pt x="84" y="214"/>
                      <a:pt x="81" y="208"/>
                      <a:pt x="81" y="202"/>
                    </a:cubicBezTo>
                    <a:cubicBezTo>
                      <a:pt x="81" y="195"/>
                      <a:pt x="84" y="189"/>
                      <a:pt x="89" y="184"/>
                    </a:cubicBezTo>
                    <a:lnTo>
                      <a:pt x="123" y="149"/>
                    </a:lnTo>
                    <a:cubicBezTo>
                      <a:pt x="128" y="144"/>
                      <a:pt x="134" y="141"/>
                      <a:pt x="141" y="141"/>
                    </a:cubicBezTo>
                    <a:cubicBezTo>
                      <a:pt x="148" y="141"/>
                      <a:pt x="154" y="144"/>
                      <a:pt x="159" y="149"/>
                    </a:cubicBezTo>
                    <a:lnTo>
                      <a:pt x="242" y="232"/>
                    </a:lnTo>
                    <a:lnTo>
                      <a:pt x="446" y="28"/>
                    </a:lnTo>
                    <a:cubicBezTo>
                      <a:pt x="451" y="23"/>
                      <a:pt x="457" y="20"/>
                      <a:pt x="464" y="20"/>
                    </a:cubicBezTo>
                    <a:cubicBezTo>
                      <a:pt x="471" y="20"/>
                      <a:pt x="477" y="23"/>
                      <a:pt x="482" y="28"/>
                    </a:cubicBezTo>
                    <a:lnTo>
                      <a:pt x="516" y="63"/>
                    </a:lnTo>
                    <a:cubicBezTo>
                      <a:pt x="522" y="68"/>
                      <a:pt x="524" y="74"/>
                      <a:pt x="524" y="81"/>
                    </a:cubicBezTo>
                    <a:cubicBezTo>
                      <a:pt x="524" y="88"/>
                      <a:pt x="522" y="94"/>
                      <a:pt x="516" y="99"/>
                    </a:cubicBezTo>
                    <a:lnTo>
                      <a:pt x="260" y="355"/>
                    </a:lnTo>
                    <a:cubicBezTo>
                      <a:pt x="255" y="360"/>
                      <a:pt x="249" y="363"/>
                      <a:pt x="242" y="363"/>
                    </a:cubicBezTo>
                    <a:cubicBezTo>
                      <a:pt x="235" y="363"/>
                      <a:pt x="229" y="360"/>
                      <a:pt x="224" y="355"/>
                    </a:cubicBezTo>
                    <a:lnTo>
                      <a:pt x="89" y="22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2400" dirty="0"/>
              </a:p>
            </p:txBody>
          </p:sp>
          <p:sp>
            <p:nvSpPr>
              <p:cNvPr id="45" name="Freeform 165">
                <a:extLst>
                  <a:ext uri="{FF2B5EF4-FFF2-40B4-BE49-F238E27FC236}">
                    <a16:creationId xmlns:a16="http://schemas.microsoft.com/office/drawing/2014/main" id="{FA149F85-F557-43C6-984A-76D83CFFFD9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751006" y="1747604"/>
                <a:ext cx="292531" cy="266969"/>
              </a:xfrm>
              <a:custGeom>
                <a:avLst/>
                <a:gdLst>
                  <a:gd name="T0" fmla="*/ 2 w 605"/>
                  <a:gd name="T1" fmla="*/ 241 h 554"/>
                  <a:gd name="T2" fmla="*/ 66 w 605"/>
                  <a:gd name="T3" fmla="*/ 206 h 554"/>
                  <a:gd name="T4" fmla="*/ 38 w 605"/>
                  <a:gd name="T5" fmla="*/ 158 h 554"/>
                  <a:gd name="T6" fmla="*/ 95 w 605"/>
                  <a:gd name="T7" fmla="*/ 113 h 554"/>
                  <a:gd name="T8" fmla="*/ 163 w 605"/>
                  <a:gd name="T9" fmla="*/ 83 h 554"/>
                  <a:gd name="T10" fmla="*/ 237 w 605"/>
                  <a:gd name="T11" fmla="*/ 78 h 554"/>
                  <a:gd name="T12" fmla="*/ 271 w 605"/>
                  <a:gd name="T13" fmla="*/ 141 h 554"/>
                  <a:gd name="T14" fmla="*/ 321 w 605"/>
                  <a:gd name="T15" fmla="*/ 114 h 554"/>
                  <a:gd name="T16" fmla="*/ 351 w 605"/>
                  <a:gd name="T17" fmla="*/ 187 h 554"/>
                  <a:gd name="T18" fmla="*/ 396 w 605"/>
                  <a:gd name="T19" fmla="*/ 239 h 554"/>
                  <a:gd name="T20" fmla="*/ 403 w 605"/>
                  <a:gd name="T21" fmla="*/ 307 h 554"/>
                  <a:gd name="T22" fmla="*/ 347 w 605"/>
                  <a:gd name="T23" fmla="*/ 324 h 554"/>
                  <a:gd name="T24" fmla="*/ 368 w 605"/>
                  <a:gd name="T25" fmla="*/ 390 h 554"/>
                  <a:gd name="T26" fmla="*/ 315 w 605"/>
                  <a:gd name="T27" fmla="*/ 443 h 554"/>
                  <a:gd name="T28" fmla="*/ 248 w 605"/>
                  <a:gd name="T29" fmla="*/ 422 h 554"/>
                  <a:gd name="T30" fmla="*/ 172 w 605"/>
                  <a:gd name="T31" fmla="*/ 479 h 554"/>
                  <a:gd name="T32" fmla="*/ 156 w 605"/>
                  <a:gd name="T33" fmla="*/ 423 h 554"/>
                  <a:gd name="T34" fmla="*/ 89 w 605"/>
                  <a:gd name="T35" fmla="*/ 443 h 554"/>
                  <a:gd name="T36" fmla="*/ 39 w 605"/>
                  <a:gd name="T37" fmla="*/ 384 h 554"/>
                  <a:gd name="T38" fmla="*/ 56 w 605"/>
                  <a:gd name="T39" fmla="*/ 322 h 554"/>
                  <a:gd name="T40" fmla="*/ 0 w 605"/>
                  <a:gd name="T41" fmla="*/ 306 h 554"/>
                  <a:gd name="T42" fmla="*/ 145 w 605"/>
                  <a:gd name="T43" fmla="*/ 334 h 554"/>
                  <a:gd name="T44" fmla="*/ 282 w 605"/>
                  <a:gd name="T45" fmla="*/ 277 h 554"/>
                  <a:gd name="T46" fmla="*/ 145 w 605"/>
                  <a:gd name="T47" fmla="*/ 220 h 554"/>
                  <a:gd name="T48" fmla="*/ 410 w 605"/>
                  <a:gd name="T49" fmla="*/ 406 h 554"/>
                  <a:gd name="T50" fmla="*/ 405 w 605"/>
                  <a:gd name="T51" fmla="*/ 344 h 554"/>
                  <a:gd name="T52" fmla="*/ 444 w 605"/>
                  <a:gd name="T53" fmla="*/ 322 h 554"/>
                  <a:gd name="T54" fmla="*/ 484 w 605"/>
                  <a:gd name="T55" fmla="*/ 358 h 554"/>
                  <a:gd name="T56" fmla="*/ 524 w 605"/>
                  <a:gd name="T57" fmla="*/ 322 h 554"/>
                  <a:gd name="T58" fmla="*/ 549 w 605"/>
                  <a:gd name="T59" fmla="*/ 390 h 554"/>
                  <a:gd name="T60" fmla="*/ 605 w 605"/>
                  <a:gd name="T61" fmla="*/ 460 h 554"/>
                  <a:gd name="T62" fmla="*/ 565 w 605"/>
                  <a:gd name="T63" fmla="*/ 530 h 554"/>
                  <a:gd name="T64" fmla="*/ 510 w 605"/>
                  <a:gd name="T65" fmla="*/ 540 h 554"/>
                  <a:gd name="T66" fmla="*/ 474 w 605"/>
                  <a:gd name="T67" fmla="*/ 518 h 554"/>
                  <a:gd name="T68" fmla="*/ 405 w 605"/>
                  <a:gd name="T69" fmla="*/ 532 h 554"/>
                  <a:gd name="T70" fmla="*/ 410 w 605"/>
                  <a:gd name="T71" fmla="*/ 470 h 554"/>
                  <a:gd name="T72" fmla="*/ 363 w 605"/>
                  <a:gd name="T73" fmla="*/ 94 h 554"/>
                  <a:gd name="T74" fmla="*/ 403 w 605"/>
                  <a:gd name="T75" fmla="*/ 24 h 554"/>
                  <a:gd name="T76" fmla="*/ 434 w 605"/>
                  <a:gd name="T77" fmla="*/ 5 h 554"/>
                  <a:gd name="T78" fmla="*/ 474 w 605"/>
                  <a:gd name="T79" fmla="*/ 36 h 554"/>
                  <a:gd name="T80" fmla="*/ 522 w 605"/>
                  <a:gd name="T81" fmla="*/ 0 h 554"/>
                  <a:gd name="T82" fmla="*/ 565 w 605"/>
                  <a:gd name="T83" fmla="*/ 24 h 554"/>
                  <a:gd name="T84" fmla="*/ 605 w 605"/>
                  <a:gd name="T85" fmla="*/ 94 h 554"/>
                  <a:gd name="T86" fmla="*/ 549 w 605"/>
                  <a:gd name="T87" fmla="*/ 164 h 554"/>
                  <a:gd name="T88" fmla="*/ 524 w 605"/>
                  <a:gd name="T89" fmla="*/ 232 h 554"/>
                  <a:gd name="T90" fmla="*/ 484 w 605"/>
                  <a:gd name="T91" fmla="*/ 196 h 554"/>
                  <a:gd name="T92" fmla="*/ 444 w 605"/>
                  <a:gd name="T93" fmla="*/ 232 h 554"/>
                  <a:gd name="T94" fmla="*/ 419 w 605"/>
                  <a:gd name="T95" fmla="*/ 164 h 554"/>
                  <a:gd name="T96" fmla="*/ 444 w 605"/>
                  <a:gd name="T97" fmla="*/ 438 h 554"/>
                  <a:gd name="T98" fmla="*/ 512 w 605"/>
                  <a:gd name="T99" fmla="*/ 467 h 554"/>
                  <a:gd name="T100" fmla="*/ 484 w 605"/>
                  <a:gd name="T101" fmla="*/ 398 h 554"/>
                  <a:gd name="T102" fmla="*/ 444 w 605"/>
                  <a:gd name="T103" fmla="*/ 116 h 554"/>
                  <a:gd name="T104" fmla="*/ 512 w 605"/>
                  <a:gd name="T105" fmla="*/ 144 h 554"/>
                  <a:gd name="T106" fmla="*/ 484 w 605"/>
                  <a:gd name="T107" fmla="*/ 75 h 5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605" h="554">
                    <a:moveTo>
                      <a:pt x="0" y="306"/>
                    </a:moveTo>
                    <a:lnTo>
                      <a:pt x="0" y="247"/>
                    </a:lnTo>
                    <a:cubicBezTo>
                      <a:pt x="0" y="245"/>
                      <a:pt x="1" y="243"/>
                      <a:pt x="2" y="241"/>
                    </a:cubicBezTo>
                    <a:cubicBezTo>
                      <a:pt x="4" y="239"/>
                      <a:pt x="5" y="238"/>
                      <a:pt x="7" y="238"/>
                    </a:cubicBezTo>
                    <a:lnTo>
                      <a:pt x="56" y="230"/>
                    </a:lnTo>
                    <a:cubicBezTo>
                      <a:pt x="59" y="223"/>
                      <a:pt x="62" y="215"/>
                      <a:pt x="66" y="206"/>
                    </a:cubicBezTo>
                    <a:cubicBezTo>
                      <a:pt x="59" y="196"/>
                      <a:pt x="50" y="184"/>
                      <a:pt x="38" y="170"/>
                    </a:cubicBezTo>
                    <a:cubicBezTo>
                      <a:pt x="36" y="168"/>
                      <a:pt x="36" y="166"/>
                      <a:pt x="36" y="164"/>
                    </a:cubicBezTo>
                    <a:cubicBezTo>
                      <a:pt x="36" y="161"/>
                      <a:pt x="36" y="159"/>
                      <a:pt x="38" y="158"/>
                    </a:cubicBezTo>
                    <a:cubicBezTo>
                      <a:pt x="43" y="151"/>
                      <a:pt x="51" y="142"/>
                      <a:pt x="64" y="130"/>
                    </a:cubicBezTo>
                    <a:cubicBezTo>
                      <a:pt x="76" y="117"/>
                      <a:pt x="85" y="111"/>
                      <a:pt x="89" y="111"/>
                    </a:cubicBezTo>
                    <a:cubicBezTo>
                      <a:pt x="91" y="111"/>
                      <a:pt x="93" y="112"/>
                      <a:pt x="95" y="113"/>
                    </a:cubicBezTo>
                    <a:lnTo>
                      <a:pt x="131" y="142"/>
                    </a:lnTo>
                    <a:cubicBezTo>
                      <a:pt x="139" y="138"/>
                      <a:pt x="147" y="134"/>
                      <a:pt x="156" y="131"/>
                    </a:cubicBezTo>
                    <a:cubicBezTo>
                      <a:pt x="158" y="109"/>
                      <a:pt x="160" y="93"/>
                      <a:pt x="163" y="83"/>
                    </a:cubicBezTo>
                    <a:cubicBezTo>
                      <a:pt x="164" y="78"/>
                      <a:pt x="168" y="75"/>
                      <a:pt x="172" y="75"/>
                    </a:cubicBezTo>
                    <a:lnTo>
                      <a:pt x="231" y="75"/>
                    </a:lnTo>
                    <a:cubicBezTo>
                      <a:pt x="233" y="75"/>
                      <a:pt x="235" y="76"/>
                      <a:pt x="237" y="78"/>
                    </a:cubicBezTo>
                    <a:cubicBezTo>
                      <a:pt x="239" y="79"/>
                      <a:pt x="240" y="81"/>
                      <a:pt x="240" y="83"/>
                    </a:cubicBezTo>
                    <a:lnTo>
                      <a:pt x="248" y="131"/>
                    </a:lnTo>
                    <a:cubicBezTo>
                      <a:pt x="255" y="134"/>
                      <a:pt x="263" y="137"/>
                      <a:pt x="271" y="141"/>
                    </a:cubicBezTo>
                    <a:lnTo>
                      <a:pt x="309" y="113"/>
                    </a:lnTo>
                    <a:cubicBezTo>
                      <a:pt x="310" y="112"/>
                      <a:pt x="312" y="111"/>
                      <a:pt x="315" y="111"/>
                    </a:cubicBezTo>
                    <a:cubicBezTo>
                      <a:pt x="317" y="111"/>
                      <a:pt x="319" y="112"/>
                      <a:pt x="321" y="114"/>
                    </a:cubicBezTo>
                    <a:cubicBezTo>
                      <a:pt x="352" y="141"/>
                      <a:pt x="367" y="158"/>
                      <a:pt x="367" y="164"/>
                    </a:cubicBezTo>
                    <a:cubicBezTo>
                      <a:pt x="367" y="166"/>
                      <a:pt x="366" y="168"/>
                      <a:pt x="365" y="170"/>
                    </a:cubicBezTo>
                    <a:cubicBezTo>
                      <a:pt x="362" y="173"/>
                      <a:pt x="358" y="179"/>
                      <a:pt x="351" y="187"/>
                    </a:cubicBezTo>
                    <a:cubicBezTo>
                      <a:pt x="345" y="195"/>
                      <a:pt x="340" y="201"/>
                      <a:pt x="337" y="206"/>
                    </a:cubicBezTo>
                    <a:cubicBezTo>
                      <a:pt x="342" y="216"/>
                      <a:pt x="346" y="224"/>
                      <a:pt x="348" y="232"/>
                    </a:cubicBezTo>
                    <a:lnTo>
                      <a:pt x="396" y="239"/>
                    </a:lnTo>
                    <a:cubicBezTo>
                      <a:pt x="398" y="239"/>
                      <a:pt x="400" y="240"/>
                      <a:pt x="401" y="242"/>
                    </a:cubicBezTo>
                    <a:cubicBezTo>
                      <a:pt x="403" y="244"/>
                      <a:pt x="403" y="246"/>
                      <a:pt x="403" y="248"/>
                    </a:cubicBezTo>
                    <a:lnTo>
                      <a:pt x="403" y="307"/>
                    </a:lnTo>
                    <a:cubicBezTo>
                      <a:pt x="403" y="309"/>
                      <a:pt x="403" y="311"/>
                      <a:pt x="401" y="313"/>
                    </a:cubicBezTo>
                    <a:cubicBezTo>
                      <a:pt x="400" y="315"/>
                      <a:pt x="398" y="316"/>
                      <a:pt x="396" y="316"/>
                    </a:cubicBezTo>
                    <a:lnTo>
                      <a:pt x="347" y="324"/>
                    </a:lnTo>
                    <a:cubicBezTo>
                      <a:pt x="345" y="331"/>
                      <a:pt x="342" y="339"/>
                      <a:pt x="337" y="348"/>
                    </a:cubicBezTo>
                    <a:cubicBezTo>
                      <a:pt x="344" y="358"/>
                      <a:pt x="354" y="370"/>
                      <a:pt x="366" y="384"/>
                    </a:cubicBezTo>
                    <a:cubicBezTo>
                      <a:pt x="367" y="386"/>
                      <a:pt x="368" y="388"/>
                      <a:pt x="368" y="390"/>
                    </a:cubicBezTo>
                    <a:cubicBezTo>
                      <a:pt x="368" y="393"/>
                      <a:pt x="367" y="395"/>
                      <a:pt x="366" y="396"/>
                    </a:cubicBezTo>
                    <a:cubicBezTo>
                      <a:pt x="361" y="402"/>
                      <a:pt x="352" y="412"/>
                      <a:pt x="340" y="424"/>
                    </a:cubicBezTo>
                    <a:cubicBezTo>
                      <a:pt x="327" y="437"/>
                      <a:pt x="319" y="443"/>
                      <a:pt x="315" y="443"/>
                    </a:cubicBezTo>
                    <a:cubicBezTo>
                      <a:pt x="312" y="443"/>
                      <a:pt x="310" y="442"/>
                      <a:pt x="308" y="441"/>
                    </a:cubicBezTo>
                    <a:lnTo>
                      <a:pt x="272" y="412"/>
                    </a:lnTo>
                    <a:cubicBezTo>
                      <a:pt x="264" y="416"/>
                      <a:pt x="256" y="420"/>
                      <a:pt x="248" y="422"/>
                    </a:cubicBezTo>
                    <a:cubicBezTo>
                      <a:pt x="245" y="445"/>
                      <a:pt x="243" y="461"/>
                      <a:pt x="240" y="471"/>
                    </a:cubicBezTo>
                    <a:cubicBezTo>
                      <a:pt x="239" y="476"/>
                      <a:pt x="236" y="479"/>
                      <a:pt x="231" y="479"/>
                    </a:cubicBezTo>
                    <a:lnTo>
                      <a:pt x="172" y="479"/>
                    </a:lnTo>
                    <a:cubicBezTo>
                      <a:pt x="170" y="479"/>
                      <a:pt x="168" y="478"/>
                      <a:pt x="166" y="476"/>
                    </a:cubicBezTo>
                    <a:cubicBezTo>
                      <a:pt x="164" y="475"/>
                      <a:pt x="163" y="473"/>
                      <a:pt x="163" y="471"/>
                    </a:cubicBezTo>
                    <a:lnTo>
                      <a:pt x="156" y="423"/>
                    </a:lnTo>
                    <a:cubicBezTo>
                      <a:pt x="149" y="420"/>
                      <a:pt x="141" y="417"/>
                      <a:pt x="132" y="413"/>
                    </a:cubicBezTo>
                    <a:lnTo>
                      <a:pt x="95" y="441"/>
                    </a:lnTo>
                    <a:cubicBezTo>
                      <a:pt x="93" y="442"/>
                      <a:pt x="91" y="443"/>
                      <a:pt x="89" y="443"/>
                    </a:cubicBezTo>
                    <a:cubicBezTo>
                      <a:pt x="86" y="443"/>
                      <a:pt x="84" y="442"/>
                      <a:pt x="82" y="440"/>
                    </a:cubicBezTo>
                    <a:cubicBezTo>
                      <a:pt x="52" y="413"/>
                      <a:pt x="37" y="396"/>
                      <a:pt x="37" y="390"/>
                    </a:cubicBezTo>
                    <a:cubicBezTo>
                      <a:pt x="37" y="388"/>
                      <a:pt x="37" y="386"/>
                      <a:pt x="39" y="384"/>
                    </a:cubicBezTo>
                    <a:cubicBezTo>
                      <a:pt x="41" y="381"/>
                      <a:pt x="45" y="376"/>
                      <a:pt x="52" y="367"/>
                    </a:cubicBezTo>
                    <a:cubicBezTo>
                      <a:pt x="58" y="359"/>
                      <a:pt x="63" y="353"/>
                      <a:pt x="67" y="348"/>
                    </a:cubicBezTo>
                    <a:cubicBezTo>
                      <a:pt x="62" y="339"/>
                      <a:pt x="58" y="330"/>
                      <a:pt x="56" y="322"/>
                    </a:cubicBezTo>
                    <a:lnTo>
                      <a:pt x="8" y="315"/>
                    </a:lnTo>
                    <a:cubicBezTo>
                      <a:pt x="6" y="315"/>
                      <a:pt x="4" y="314"/>
                      <a:pt x="2" y="312"/>
                    </a:cubicBezTo>
                    <a:cubicBezTo>
                      <a:pt x="1" y="310"/>
                      <a:pt x="0" y="308"/>
                      <a:pt x="0" y="306"/>
                    </a:cubicBezTo>
                    <a:close/>
                    <a:moveTo>
                      <a:pt x="145" y="220"/>
                    </a:moveTo>
                    <a:cubicBezTo>
                      <a:pt x="129" y="236"/>
                      <a:pt x="121" y="255"/>
                      <a:pt x="121" y="277"/>
                    </a:cubicBezTo>
                    <a:cubicBezTo>
                      <a:pt x="121" y="299"/>
                      <a:pt x="129" y="318"/>
                      <a:pt x="145" y="334"/>
                    </a:cubicBezTo>
                    <a:cubicBezTo>
                      <a:pt x="160" y="350"/>
                      <a:pt x="179" y="358"/>
                      <a:pt x="202" y="358"/>
                    </a:cubicBezTo>
                    <a:cubicBezTo>
                      <a:pt x="224" y="358"/>
                      <a:pt x="243" y="350"/>
                      <a:pt x="259" y="334"/>
                    </a:cubicBezTo>
                    <a:cubicBezTo>
                      <a:pt x="274" y="318"/>
                      <a:pt x="282" y="299"/>
                      <a:pt x="282" y="277"/>
                    </a:cubicBezTo>
                    <a:cubicBezTo>
                      <a:pt x="282" y="255"/>
                      <a:pt x="274" y="236"/>
                      <a:pt x="259" y="220"/>
                    </a:cubicBezTo>
                    <a:cubicBezTo>
                      <a:pt x="243" y="204"/>
                      <a:pt x="224" y="196"/>
                      <a:pt x="202" y="196"/>
                    </a:cubicBezTo>
                    <a:cubicBezTo>
                      <a:pt x="179" y="196"/>
                      <a:pt x="160" y="204"/>
                      <a:pt x="145" y="220"/>
                    </a:cubicBezTo>
                    <a:close/>
                    <a:moveTo>
                      <a:pt x="363" y="460"/>
                    </a:moveTo>
                    <a:lnTo>
                      <a:pt x="363" y="416"/>
                    </a:lnTo>
                    <a:cubicBezTo>
                      <a:pt x="363" y="413"/>
                      <a:pt x="379" y="410"/>
                      <a:pt x="410" y="406"/>
                    </a:cubicBezTo>
                    <a:cubicBezTo>
                      <a:pt x="413" y="400"/>
                      <a:pt x="416" y="395"/>
                      <a:pt x="419" y="390"/>
                    </a:cubicBezTo>
                    <a:cubicBezTo>
                      <a:pt x="409" y="366"/>
                      <a:pt x="403" y="352"/>
                      <a:pt x="403" y="347"/>
                    </a:cubicBezTo>
                    <a:cubicBezTo>
                      <a:pt x="403" y="346"/>
                      <a:pt x="404" y="345"/>
                      <a:pt x="405" y="344"/>
                    </a:cubicBezTo>
                    <a:cubicBezTo>
                      <a:pt x="405" y="344"/>
                      <a:pt x="409" y="342"/>
                      <a:pt x="416" y="338"/>
                    </a:cubicBezTo>
                    <a:cubicBezTo>
                      <a:pt x="422" y="334"/>
                      <a:pt x="428" y="331"/>
                      <a:pt x="434" y="327"/>
                    </a:cubicBezTo>
                    <a:cubicBezTo>
                      <a:pt x="440" y="324"/>
                      <a:pt x="443" y="322"/>
                      <a:pt x="444" y="322"/>
                    </a:cubicBezTo>
                    <a:cubicBezTo>
                      <a:pt x="445" y="322"/>
                      <a:pt x="450" y="327"/>
                      <a:pt x="458" y="337"/>
                    </a:cubicBezTo>
                    <a:cubicBezTo>
                      <a:pt x="466" y="347"/>
                      <a:pt x="472" y="354"/>
                      <a:pt x="474" y="358"/>
                    </a:cubicBezTo>
                    <a:cubicBezTo>
                      <a:pt x="479" y="358"/>
                      <a:pt x="482" y="358"/>
                      <a:pt x="484" y="358"/>
                    </a:cubicBezTo>
                    <a:cubicBezTo>
                      <a:pt x="486" y="358"/>
                      <a:pt x="489" y="358"/>
                      <a:pt x="493" y="358"/>
                    </a:cubicBezTo>
                    <a:cubicBezTo>
                      <a:pt x="504" y="343"/>
                      <a:pt x="514" y="332"/>
                      <a:pt x="522" y="323"/>
                    </a:cubicBezTo>
                    <a:lnTo>
                      <a:pt x="524" y="322"/>
                    </a:lnTo>
                    <a:cubicBezTo>
                      <a:pt x="525" y="322"/>
                      <a:pt x="538" y="330"/>
                      <a:pt x="563" y="344"/>
                    </a:cubicBezTo>
                    <a:cubicBezTo>
                      <a:pt x="564" y="345"/>
                      <a:pt x="565" y="346"/>
                      <a:pt x="565" y="347"/>
                    </a:cubicBezTo>
                    <a:cubicBezTo>
                      <a:pt x="565" y="352"/>
                      <a:pt x="559" y="366"/>
                      <a:pt x="549" y="390"/>
                    </a:cubicBezTo>
                    <a:cubicBezTo>
                      <a:pt x="552" y="395"/>
                      <a:pt x="555" y="400"/>
                      <a:pt x="558" y="406"/>
                    </a:cubicBezTo>
                    <a:cubicBezTo>
                      <a:pt x="589" y="410"/>
                      <a:pt x="605" y="413"/>
                      <a:pt x="605" y="416"/>
                    </a:cubicBezTo>
                    <a:lnTo>
                      <a:pt x="605" y="460"/>
                    </a:lnTo>
                    <a:cubicBezTo>
                      <a:pt x="605" y="464"/>
                      <a:pt x="589" y="467"/>
                      <a:pt x="558" y="470"/>
                    </a:cubicBezTo>
                    <a:cubicBezTo>
                      <a:pt x="555" y="476"/>
                      <a:pt x="552" y="481"/>
                      <a:pt x="549" y="486"/>
                    </a:cubicBezTo>
                    <a:cubicBezTo>
                      <a:pt x="559" y="510"/>
                      <a:pt x="565" y="525"/>
                      <a:pt x="565" y="530"/>
                    </a:cubicBezTo>
                    <a:cubicBezTo>
                      <a:pt x="565" y="531"/>
                      <a:pt x="564" y="531"/>
                      <a:pt x="563" y="532"/>
                    </a:cubicBezTo>
                    <a:cubicBezTo>
                      <a:pt x="538" y="547"/>
                      <a:pt x="525" y="554"/>
                      <a:pt x="524" y="554"/>
                    </a:cubicBezTo>
                    <a:cubicBezTo>
                      <a:pt x="523" y="554"/>
                      <a:pt x="518" y="550"/>
                      <a:pt x="510" y="540"/>
                    </a:cubicBezTo>
                    <a:cubicBezTo>
                      <a:pt x="502" y="530"/>
                      <a:pt x="496" y="523"/>
                      <a:pt x="493" y="518"/>
                    </a:cubicBezTo>
                    <a:cubicBezTo>
                      <a:pt x="489" y="519"/>
                      <a:pt x="486" y="519"/>
                      <a:pt x="484" y="519"/>
                    </a:cubicBezTo>
                    <a:cubicBezTo>
                      <a:pt x="482" y="519"/>
                      <a:pt x="479" y="519"/>
                      <a:pt x="474" y="518"/>
                    </a:cubicBezTo>
                    <a:cubicBezTo>
                      <a:pt x="472" y="523"/>
                      <a:pt x="466" y="530"/>
                      <a:pt x="458" y="540"/>
                    </a:cubicBezTo>
                    <a:cubicBezTo>
                      <a:pt x="450" y="550"/>
                      <a:pt x="445" y="554"/>
                      <a:pt x="444" y="554"/>
                    </a:cubicBezTo>
                    <a:cubicBezTo>
                      <a:pt x="443" y="554"/>
                      <a:pt x="430" y="547"/>
                      <a:pt x="405" y="532"/>
                    </a:cubicBezTo>
                    <a:cubicBezTo>
                      <a:pt x="404" y="531"/>
                      <a:pt x="403" y="531"/>
                      <a:pt x="403" y="530"/>
                    </a:cubicBezTo>
                    <a:cubicBezTo>
                      <a:pt x="403" y="525"/>
                      <a:pt x="409" y="510"/>
                      <a:pt x="419" y="486"/>
                    </a:cubicBezTo>
                    <a:cubicBezTo>
                      <a:pt x="416" y="481"/>
                      <a:pt x="412" y="476"/>
                      <a:pt x="410" y="470"/>
                    </a:cubicBezTo>
                    <a:cubicBezTo>
                      <a:pt x="379" y="467"/>
                      <a:pt x="363" y="464"/>
                      <a:pt x="363" y="460"/>
                    </a:cubicBezTo>
                    <a:close/>
                    <a:moveTo>
                      <a:pt x="363" y="138"/>
                    </a:moveTo>
                    <a:lnTo>
                      <a:pt x="363" y="94"/>
                    </a:lnTo>
                    <a:cubicBezTo>
                      <a:pt x="363" y="90"/>
                      <a:pt x="379" y="87"/>
                      <a:pt x="410" y="84"/>
                    </a:cubicBezTo>
                    <a:cubicBezTo>
                      <a:pt x="413" y="78"/>
                      <a:pt x="416" y="72"/>
                      <a:pt x="419" y="68"/>
                    </a:cubicBezTo>
                    <a:cubicBezTo>
                      <a:pt x="409" y="44"/>
                      <a:pt x="403" y="29"/>
                      <a:pt x="403" y="24"/>
                    </a:cubicBezTo>
                    <a:cubicBezTo>
                      <a:pt x="403" y="23"/>
                      <a:pt x="404" y="22"/>
                      <a:pt x="405" y="22"/>
                    </a:cubicBezTo>
                    <a:cubicBezTo>
                      <a:pt x="405" y="21"/>
                      <a:pt x="409" y="19"/>
                      <a:pt x="416" y="16"/>
                    </a:cubicBezTo>
                    <a:cubicBezTo>
                      <a:pt x="422" y="12"/>
                      <a:pt x="428" y="8"/>
                      <a:pt x="434" y="5"/>
                    </a:cubicBezTo>
                    <a:cubicBezTo>
                      <a:pt x="440" y="1"/>
                      <a:pt x="443" y="0"/>
                      <a:pt x="444" y="0"/>
                    </a:cubicBezTo>
                    <a:cubicBezTo>
                      <a:pt x="445" y="0"/>
                      <a:pt x="450" y="5"/>
                      <a:pt x="458" y="14"/>
                    </a:cubicBezTo>
                    <a:cubicBezTo>
                      <a:pt x="466" y="24"/>
                      <a:pt x="472" y="31"/>
                      <a:pt x="474" y="36"/>
                    </a:cubicBezTo>
                    <a:cubicBezTo>
                      <a:pt x="479" y="35"/>
                      <a:pt x="482" y="35"/>
                      <a:pt x="484" y="35"/>
                    </a:cubicBezTo>
                    <a:cubicBezTo>
                      <a:pt x="486" y="35"/>
                      <a:pt x="489" y="35"/>
                      <a:pt x="493" y="36"/>
                    </a:cubicBezTo>
                    <a:cubicBezTo>
                      <a:pt x="504" y="21"/>
                      <a:pt x="514" y="9"/>
                      <a:pt x="522" y="0"/>
                    </a:cubicBezTo>
                    <a:lnTo>
                      <a:pt x="524" y="0"/>
                    </a:lnTo>
                    <a:cubicBezTo>
                      <a:pt x="525" y="0"/>
                      <a:pt x="538" y="7"/>
                      <a:pt x="563" y="22"/>
                    </a:cubicBezTo>
                    <a:cubicBezTo>
                      <a:pt x="564" y="22"/>
                      <a:pt x="565" y="23"/>
                      <a:pt x="565" y="24"/>
                    </a:cubicBezTo>
                    <a:cubicBezTo>
                      <a:pt x="565" y="29"/>
                      <a:pt x="559" y="44"/>
                      <a:pt x="549" y="68"/>
                    </a:cubicBezTo>
                    <a:cubicBezTo>
                      <a:pt x="552" y="72"/>
                      <a:pt x="555" y="78"/>
                      <a:pt x="558" y="84"/>
                    </a:cubicBezTo>
                    <a:cubicBezTo>
                      <a:pt x="589" y="87"/>
                      <a:pt x="605" y="90"/>
                      <a:pt x="605" y="94"/>
                    </a:cubicBezTo>
                    <a:lnTo>
                      <a:pt x="605" y="138"/>
                    </a:lnTo>
                    <a:cubicBezTo>
                      <a:pt x="605" y="141"/>
                      <a:pt x="589" y="144"/>
                      <a:pt x="558" y="148"/>
                    </a:cubicBezTo>
                    <a:cubicBezTo>
                      <a:pt x="555" y="153"/>
                      <a:pt x="552" y="159"/>
                      <a:pt x="549" y="164"/>
                    </a:cubicBezTo>
                    <a:cubicBezTo>
                      <a:pt x="559" y="188"/>
                      <a:pt x="565" y="202"/>
                      <a:pt x="565" y="207"/>
                    </a:cubicBezTo>
                    <a:cubicBezTo>
                      <a:pt x="565" y="208"/>
                      <a:pt x="564" y="209"/>
                      <a:pt x="563" y="210"/>
                    </a:cubicBezTo>
                    <a:cubicBezTo>
                      <a:pt x="538" y="224"/>
                      <a:pt x="525" y="232"/>
                      <a:pt x="524" y="232"/>
                    </a:cubicBezTo>
                    <a:cubicBezTo>
                      <a:pt x="523" y="232"/>
                      <a:pt x="518" y="227"/>
                      <a:pt x="510" y="217"/>
                    </a:cubicBezTo>
                    <a:cubicBezTo>
                      <a:pt x="502" y="207"/>
                      <a:pt x="496" y="200"/>
                      <a:pt x="493" y="196"/>
                    </a:cubicBezTo>
                    <a:cubicBezTo>
                      <a:pt x="489" y="196"/>
                      <a:pt x="486" y="196"/>
                      <a:pt x="484" y="196"/>
                    </a:cubicBezTo>
                    <a:cubicBezTo>
                      <a:pt x="482" y="196"/>
                      <a:pt x="479" y="196"/>
                      <a:pt x="474" y="196"/>
                    </a:cubicBezTo>
                    <a:cubicBezTo>
                      <a:pt x="472" y="200"/>
                      <a:pt x="466" y="207"/>
                      <a:pt x="458" y="217"/>
                    </a:cubicBezTo>
                    <a:cubicBezTo>
                      <a:pt x="450" y="227"/>
                      <a:pt x="445" y="232"/>
                      <a:pt x="444" y="232"/>
                    </a:cubicBezTo>
                    <a:cubicBezTo>
                      <a:pt x="443" y="232"/>
                      <a:pt x="430" y="224"/>
                      <a:pt x="405" y="210"/>
                    </a:cubicBezTo>
                    <a:cubicBezTo>
                      <a:pt x="404" y="209"/>
                      <a:pt x="403" y="208"/>
                      <a:pt x="403" y="207"/>
                    </a:cubicBezTo>
                    <a:cubicBezTo>
                      <a:pt x="403" y="202"/>
                      <a:pt x="409" y="188"/>
                      <a:pt x="419" y="164"/>
                    </a:cubicBezTo>
                    <a:cubicBezTo>
                      <a:pt x="416" y="159"/>
                      <a:pt x="412" y="153"/>
                      <a:pt x="410" y="148"/>
                    </a:cubicBezTo>
                    <a:cubicBezTo>
                      <a:pt x="379" y="144"/>
                      <a:pt x="363" y="141"/>
                      <a:pt x="363" y="138"/>
                    </a:cubicBezTo>
                    <a:close/>
                    <a:moveTo>
                      <a:pt x="444" y="438"/>
                    </a:moveTo>
                    <a:cubicBezTo>
                      <a:pt x="444" y="449"/>
                      <a:pt x="448" y="459"/>
                      <a:pt x="455" y="467"/>
                    </a:cubicBezTo>
                    <a:cubicBezTo>
                      <a:pt x="463" y="475"/>
                      <a:pt x="473" y="479"/>
                      <a:pt x="484" y="479"/>
                    </a:cubicBezTo>
                    <a:cubicBezTo>
                      <a:pt x="495" y="479"/>
                      <a:pt x="505" y="475"/>
                      <a:pt x="512" y="467"/>
                    </a:cubicBezTo>
                    <a:cubicBezTo>
                      <a:pt x="520" y="459"/>
                      <a:pt x="524" y="449"/>
                      <a:pt x="524" y="438"/>
                    </a:cubicBezTo>
                    <a:cubicBezTo>
                      <a:pt x="524" y="427"/>
                      <a:pt x="520" y="418"/>
                      <a:pt x="512" y="410"/>
                    </a:cubicBezTo>
                    <a:cubicBezTo>
                      <a:pt x="504" y="402"/>
                      <a:pt x="495" y="398"/>
                      <a:pt x="484" y="398"/>
                    </a:cubicBezTo>
                    <a:cubicBezTo>
                      <a:pt x="473" y="398"/>
                      <a:pt x="464" y="402"/>
                      <a:pt x="456" y="410"/>
                    </a:cubicBezTo>
                    <a:cubicBezTo>
                      <a:pt x="448" y="418"/>
                      <a:pt x="444" y="427"/>
                      <a:pt x="444" y="438"/>
                    </a:cubicBezTo>
                    <a:close/>
                    <a:moveTo>
                      <a:pt x="444" y="116"/>
                    </a:moveTo>
                    <a:cubicBezTo>
                      <a:pt x="444" y="127"/>
                      <a:pt x="448" y="136"/>
                      <a:pt x="455" y="144"/>
                    </a:cubicBezTo>
                    <a:cubicBezTo>
                      <a:pt x="463" y="152"/>
                      <a:pt x="473" y="156"/>
                      <a:pt x="484" y="156"/>
                    </a:cubicBezTo>
                    <a:cubicBezTo>
                      <a:pt x="495" y="156"/>
                      <a:pt x="505" y="152"/>
                      <a:pt x="512" y="144"/>
                    </a:cubicBezTo>
                    <a:cubicBezTo>
                      <a:pt x="520" y="136"/>
                      <a:pt x="524" y="127"/>
                      <a:pt x="524" y="116"/>
                    </a:cubicBezTo>
                    <a:cubicBezTo>
                      <a:pt x="524" y="105"/>
                      <a:pt x="520" y="95"/>
                      <a:pt x="512" y="87"/>
                    </a:cubicBezTo>
                    <a:cubicBezTo>
                      <a:pt x="504" y="79"/>
                      <a:pt x="495" y="75"/>
                      <a:pt x="484" y="75"/>
                    </a:cubicBezTo>
                    <a:cubicBezTo>
                      <a:pt x="473" y="75"/>
                      <a:pt x="464" y="79"/>
                      <a:pt x="456" y="87"/>
                    </a:cubicBezTo>
                    <a:cubicBezTo>
                      <a:pt x="448" y="95"/>
                      <a:pt x="444" y="105"/>
                      <a:pt x="444" y="116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2400" dirty="0"/>
              </a:p>
            </p:txBody>
          </p:sp>
        </p:grpSp>
        <p:sp>
          <p:nvSpPr>
            <p:cNvPr id="41" name="Pfeil: Fünfeck 40">
              <a:extLst>
                <a:ext uri="{FF2B5EF4-FFF2-40B4-BE49-F238E27FC236}">
                  <a16:creationId xmlns:a16="http://schemas.microsoft.com/office/drawing/2014/main" id="{73907D0D-A798-4690-91AE-979BEE6EA370}"/>
                </a:ext>
              </a:extLst>
            </p:cNvPr>
            <p:cNvSpPr/>
            <p:nvPr/>
          </p:nvSpPr>
          <p:spPr>
            <a:xfrm>
              <a:off x="552069" y="2747962"/>
              <a:ext cx="1101468" cy="2167833"/>
            </a:xfrm>
            <a:prstGeom prst="homePlate">
              <a:avLst>
                <a:gd name="adj" fmla="val 45251"/>
              </a:avLst>
            </a:prstGeom>
            <a:solidFill>
              <a:schemeClr val="bg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63500" sx="102000" sy="102000" algn="ctr" rotWithShape="0">
                <a:schemeClr val="bg1">
                  <a:lumMod val="75000"/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" wrap="square" lIns="121920" tIns="60960" rIns="121920" bIns="60960" numCol="1" spcCol="0" rtlCol="0" fromWordArt="0" anchor="b" anchorCtr="0" forceAA="0" compatLnSpc="1">
              <a:prstTxWarp prst="textNoShape">
                <a:avLst/>
              </a:prstTxWarp>
              <a:noAutofit/>
              <a:scene3d>
                <a:camera prst="orthographicFront">
                  <a:rot lat="60000" lon="60000" rev="10799999"/>
                </a:camera>
                <a:lightRig rig="threePt" dir="t"/>
              </a:scene3d>
            </a:bodyPr>
            <a:lstStyle/>
            <a:p>
              <a:pPr algn="ctr"/>
              <a:r>
                <a:rPr lang="de-DE" sz="800" dirty="0">
                  <a:solidFill>
                    <a:schemeClr val="tx1"/>
                  </a:solidFill>
                </a:rPr>
                <a:t>Persönliche Suche</a:t>
              </a:r>
            </a:p>
          </p:txBody>
        </p:sp>
        <p:sp>
          <p:nvSpPr>
            <p:cNvPr id="42" name="Freeform 47">
              <a:extLst>
                <a:ext uri="{FF2B5EF4-FFF2-40B4-BE49-F238E27FC236}">
                  <a16:creationId xmlns:a16="http://schemas.microsoft.com/office/drawing/2014/main" id="{9630C0EC-A065-40BC-A1A9-DB13F06136F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01214" y="2803945"/>
              <a:ext cx="313476" cy="342736"/>
            </a:xfrm>
            <a:custGeom>
              <a:avLst/>
              <a:gdLst>
                <a:gd name="T0" fmla="*/ 0 w 443"/>
                <a:gd name="T1" fmla="*/ 403 h 484"/>
                <a:gd name="T2" fmla="*/ 1 w 443"/>
                <a:gd name="T3" fmla="*/ 370 h 484"/>
                <a:gd name="T4" fmla="*/ 5 w 443"/>
                <a:gd name="T5" fmla="*/ 336 h 484"/>
                <a:gd name="T6" fmla="*/ 14 w 443"/>
                <a:gd name="T7" fmla="*/ 302 h 484"/>
                <a:gd name="T8" fmla="*/ 27 w 443"/>
                <a:gd name="T9" fmla="*/ 271 h 484"/>
                <a:gd name="T10" fmla="*/ 47 w 443"/>
                <a:gd name="T11" fmla="*/ 245 h 484"/>
                <a:gd name="T12" fmla="*/ 74 w 443"/>
                <a:gd name="T13" fmla="*/ 228 h 484"/>
                <a:gd name="T14" fmla="*/ 109 w 443"/>
                <a:gd name="T15" fmla="*/ 222 h 484"/>
                <a:gd name="T16" fmla="*/ 122 w 443"/>
                <a:gd name="T17" fmla="*/ 229 h 484"/>
                <a:gd name="T18" fmla="*/ 145 w 443"/>
                <a:gd name="T19" fmla="*/ 244 h 484"/>
                <a:gd name="T20" fmla="*/ 179 w 443"/>
                <a:gd name="T21" fmla="*/ 259 h 484"/>
                <a:gd name="T22" fmla="*/ 222 w 443"/>
                <a:gd name="T23" fmla="*/ 266 h 484"/>
                <a:gd name="T24" fmla="*/ 264 w 443"/>
                <a:gd name="T25" fmla="*/ 259 h 484"/>
                <a:gd name="T26" fmla="*/ 298 w 443"/>
                <a:gd name="T27" fmla="*/ 244 h 484"/>
                <a:gd name="T28" fmla="*/ 321 w 443"/>
                <a:gd name="T29" fmla="*/ 229 h 484"/>
                <a:gd name="T30" fmla="*/ 334 w 443"/>
                <a:gd name="T31" fmla="*/ 222 h 484"/>
                <a:gd name="T32" fmla="*/ 369 w 443"/>
                <a:gd name="T33" fmla="*/ 228 h 484"/>
                <a:gd name="T34" fmla="*/ 396 w 443"/>
                <a:gd name="T35" fmla="*/ 245 h 484"/>
                <a:gd name="T36" fmla="*/ 416 w 443"/>
                <a:gd name="T37" fmla="*/ 271 h 484"/>
                <a:gd name="T38" fmla="*/ 429 w 443"/>
                <a:gd name="T39" fmla="*/ 302 h 484"/>
                <a:gd name="T40" fmla="*/ 438 w 443"/>
                <a:gd name="T41" fmla="*/ 336 h 484"/>
                <a:gd name="T42" fmla="*/ 442 w 443"/>
                <a:gd name="T43" fmla="*/ 370 h 484"/>
                <a:gd name="T44" fmla="*/ 443 w 443"/>
                <a:gd name="T45" fmla="*/ 403 h 484"/>
                <a:gd name="T46" fmla="*/ 420 w 443"/>
                <a:gd name="T47" fmla="*/ 462 h 484"/>
                <a:gd name="T48" fmla="*/ 359 w 443"/>
                <a:gd name="T49" fmla="*/ 484 h 484"/>
                <a:gd name="T50" fmla="*/ 84 w 443"/>
                <a:gd name="T51" fmla="*/ 484 h 484"/>
                <a:gd name="T52" fmla="*/ 23 w 443"/>
                <a:gd name="T53" fmla="*/ 462 h 484"/>
                <a:gd name="T54" fmla="*/ 0 w 443"/>
                <a:gd name="T55" fmla="*/ 403 h 484"/>
                <a:gd name="T56" fmla="*/ 136 w 443"/>
                <a:gd name="T57" fmla="*/ 207 h 484"/>
                <a:gd name="T58" fmla="*/ 101 w 443"/>
                <a:gd name="T59" fmla="*/ 121 h 484"/>
                <a:gd name="T60" fmla="*/ 136 w 443"/>
                <a:gd name="T61" fmla="*/ 36 h 484"/>
                <a:gd name="T62" fmla="*/ 222 w 443"/>
                <a:gd name="T63" fmla="*/ 0 h 484"/>
                <a:gd name="T64" fmla="*/ 307 w 443"/>
                <a:gd name="T65" fmla="*/ 36 h 484"/>
                <a:gd name="T66" fmla="*/ 342 w 443"/>
                <a:gd name="T67" fmla="*/ 121 h 484"/>
                <a:gd name="T68" fmla="*/ 307 w 443"/>
                <a:gd name="T69" fmla="*/ 207 h 484"/>
                <a:gd name="T70" fmla="*/ 222 w 443"/>
                <a:gd name="T71" fmla="*/ 242 h 484"/>
                <a:gd name="T72" fmla="*/ 136 w 443"/>
                <a:gd name="T73" fmla="*/ 207 h 4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43" h="484">
                  <a:moveTo>
                    <a:pt x="0" y="403"/>
                  </a:moveTo>
                  <a:cubicBezTo>
                    <a:pt x="0" y="392"/>
                    <a:pt x="0" y="381"/>
                    <a:pt x="1" y="370"/>
                  </a:cubicBezTo>
                  <a:cubicBezTo>
                    <a:pt x="2" y="359"/>
                    <a:pt x="3" y="348"/>
                    <a:pt x="5" y="336"/>
                  </a:cubicBezTo>
                  <a:cubicBezTo>
                    <a:pt x="8" y="323"/>
                    <a:pt x="10" y="312"/>
                    <a:pt x="14" y="302"/>
                  </a:cubicBezTo>
                  <a:cubicBezTo>
                    <a:pt x="17" y="291"/>
                    <a:pt x="22" y="281"/>
                    <a:pt x="27" y="271"/>
                  </a:cubicBezTo>
                  <a:cubicBezTo>
                    <a:pt x="33" y="261"/>
                    <a:pt x="39" y="252"/>
                    <a:pt x="47" y="245"/>
                  </a:cubicBezTo>
                  <a:cubicBezTo>
                    <a:pt x="54" y="238"/>
                    <a:pt x="63" y="233"/>
                    <a:pt x="74" y="228"/>
                  </a:cubicBezTo>
                  <a:cubicBezTo>
                    <a:pt x="84" y="224"/>
                    <a:pt x="96" y="222"/>
                    <a:pt x="109" y="222"/>
                  </a:cubicBezTo>
                  <a:cubicBezTo>
                    <a:pt x="111" y="222"/>
                    <a:pt x="115" y="224"/>
                    <a:pt x="122" y="229"/>
                  </a:cubicBezTo>
                  <a:cubicBezTo>
                    <a:pt x="129" y="233"/>
                    <a:pt x="137" y="238"/>
                    <a:pt x="145" y="244"/>
                  </a:cubicBezTo>
                  <a:cubicBezTo>
                    <a:pt x="154" y="250"/>
                    <a:pt x="166" y="255"/>
                    <a:pt x="179" y="259"/>
                  </a:cubicBezTo>
                  <a:cubicBezTo>
                    <a:pt x="193" y="264"/>
                    <a:pt x="207" y="266"/>
                    <a:pt x="222" y="266"/>
                  </a:cubicBezTo>
                  <a:cubicBezTo>
                    <a:pt x="236" y="266"/>
                    <a:pt x="250" y="264"/>
                    <a:pt x="264" y="259"/>
                  </a:cubicBezTo>
                  <a:cubicBezTo>
                    <a:pt x="278" y="255"/>
                    <a:pt x="289" y="250"/>
                    <a:pt x="298" y="244"/>
                  </a:cubicBezTo>
                  <a:cubicBezTo>
                    <a:pt x="306" y="238"/>
                    <a:pt x="314" y="233"/>
                    <a:pt x="321" y="229"/>
                  </a:cubicBezTo>
                  <a:cubicBezTo>
                    <a:pt x="328" y="224"/>
                    <a:pt x="332" y="222"/>
                    <a:pt x="334" y="222"/>
                  </a:cubicBezTo>
                  <a:cubicBezTo>
                    <a:pt x="347" y="222"/>
                    <a:pt x="359" y="224"/>
                    <a:pt x="369" y="228"/>
                  </a:cubicBezTo>
                  <a:cubicBezTo>
                    <a:pt x="380" y="233"/>
                    <a:pt x="389" y="238"/>
                    <a:pt x="396" y="245"/>
                  </a:cubicBezTo>
                  <a:cubicBezTo>
                    <a:pt x="404" y="252"/>
                    <a:pt x="410" y="261"/>
                    <a:pt x="416" y="271"/>
                  </a:cubicBezTo>
                  <a:cubicBezTo>
                    <a:pt x="422" y="281"/>
                    <a:pt x="426" y="291"/>
                    <a:pt x="429" y="302"/>
                  </a:cubicBezTo>
                  <a:cubicBezTo>
                    <a:pt x="433" y="312"/>
                    <a:pt x="436" y="323"/>
                    <a:pt x="438" y="336"/>
                  </a:cubicBezTo>
                  <a:cubicBezTo>
                    <a:pt x="440" y="348"/>
                    <a:pt x="441" y="359"/>
                    <a:pt x="442" y="370"/>
                  </a:cubicBezTo>
                  <a:cubicBezTo>
                    <a:pt x="443" y="381"/>
                    <a:pt x="443" y="392"/>
                    <a:pt x="443" y="403"/>
                  </a:cubicBezTo>
                  <a:cubicBezTo>
                    <a:pt x="443" y="428"/>
                    <a:pt x="436" y="448"/>
                    <a:pt x="420" y="462"/>
                  </a:cubicBezTo>
                  <a:cubicBezTo>
                    <a:pt x="405" y="477"/>
                    <a:pt x="385" y="484"/>
                    <a:pt x="359" y="484"/>
                  </a:cubicBezTo>
                  <a:lnTo>
                    <a:pt x="84" y="484"/>
                  </a:lnTo>
                  <a:cubicBezTo>
                    <a:pt x="58" y="484"/>
                    <a:pt x="38" y="477"/>
                    <a:pt x="23" y="462"/>
                  </a:cubicBezTo>
                  <a:cubicBezTo>
                    <a:pt x="7" y="448"/>
                    <a:pt x="0" y="428"/>
                    <a:pt x="0" y="403"/>
                  </a:cubicBezTo>
                  <a:close/>
                  <a:moveTo>
                    <a:pt x="136" y="207"/>
                  </a:moveTo>
                  <a:cubicBezTo>
                    <a:pt x="112" y="183"/>
                    <a:pt x="101" y="155"/>
                    <a:pt x="101" y="121"/>
                  </a:cubicBezTo>
                  <a:cubicBezTo>
                    <a:pt x="101" y="88"/>
                    <a:pt x="112" y="59"/>
                    <a:pt x="136" y="36"/>
                  </a:cubicBezTo>
                  <a:cubicBezTo>
                    <a:pt x="160" y="12"/>
                    <a:pt x="188" y="0"/>
                    <a:pt x="222" y="0"/>
                  </a:cubicBezTo>
                  <a:cubicBezTo>
                    <a:pt x="255" y="0"/>
                    <a:pt x="283" y="12"/>
                    <a:pt x="307" y="36"/>
                  </a:cubicBezTo>
                  <a:cubicBezTo>
                    <a:pt x="331" y="59"/>
                    <a:pt x="342" y="88"/>
                    <a:pt x="342" y="121"/>
                  </a:cubicBezTo>
                  <a:cubicBezTo>
                    <a:pt x="342" y="155"/>
                    <a:pt x="331" y="183"/>
                    <a:pt x="307" y="207"/>
                  </a:cubicBezTo>
                  <a:cubicBezTo>
                    <a:pt x="283" y="231"/>
                    <a:pt x="255" y="242"/>
                    <a:pt x="222" y="242"/>
                  </a:cubicBezTo>
                  <a:cubicBezTo>
                    <a:pt x="188" y="242"/>
                    <a:pt x="160" y="231"/>
                    <a:pt x="136" y="207"/>
                  </a:cubicBezTo>
                  <a:close/>
                </a:path>
              </a:pathLst>
            </a:custGeom>
            <a:solidFill>
              <a:schemeClr val="dk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de-DE" sz="2400" dirty="0"/>
            </a:p>
          </p:txBody>
        </p:sp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D9EC826B-66A1-467F-A337-9658B1E3A428}"/>
                </a:ext>
              </a:extLst>
            </p:cNvPr>
            <p:cNvSpPr txBox="1"/>
            <p:nvPr/>
          </p:nvSpPr>
          <p:spPr>
            <a:xfrm>
              <a:off x="1782618" y="3066029"/>
              <a:ext cx="2294733" cy="334716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r>
                <a:rPr lang="de-DE" sz="800" b="1" dirty="0"/>
                <a:t>1. </a:t>
              </a:r>
              <a:r>
                <a:rPr lang="de-DE" sz="800" b="1" dirty="0" err="1"/>
                <a:t>Know-How</a:t>
              </a:r>
              <a:r>
                <a:rPr lang="de-DE" sz="800" b="1" dirty="0"/>
                <a:t> Aufbau</a:t>
              </a:r>
            </a:p>
          </p:txBody>
        </p:sp>
      </p:grpSp>
      <p:pic>
        <p:nvPicPr>
          <p:cNvPr id="54" name="Grafik 53">
            <a:extLst>
              <a:ext uri="{FF2B5EF4-FFF2-40B4-BE49-F238E27FC236}">
                <a16:creationId xmlns:a16="http://schemas.microsoft.com/office/drawing/2014/main" id="{2973BD55-0C5E-48A2-A5F8-B168AECC5084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12291" y="2527372"/>
            <a:ext cx="1609967" cy="905607"/>
          </a:xfrm>
          <a:prstGeom prst="rect">
            <a:avLst/>
          </a:prstGeom>
        </p:spPr>
      </p:pic>
      <p:sp>
        <p:nvSpPr>
          <p:cNvPr id="62" name="Textfeld 61">
            <a:extLst>
              <a:ext uri="{FF2B5EF4-FFF2-40B4-BE49-F238E27FC236}">
                <a16:creationId xmlns:a16="http://schemas.microsoft.com/office/drawing/2014/main" id="{63918923-9CE6-4284-A4AD-9EDF363A6A88}"/>
              </a:ext>
            </a:extLst>
          </p:cNvPr>
          <p:cNvSpPr txBox="1"/>
          <p:nvPr/>
        </p:nvSpPr>
        <p:spPr>
          <a:xfrm>
            <a:off x="6089291" y="3501131"/>
            <a:ext cx="284363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200" b="1" dirty="0">
                <a:solidFill>
                  <a:schemeClr val="accent2"/>
                </a:solidFill>
              </a:rPr>
              <a:t>Unterstützung der Identifizierung und des Designs von Teilen</a:t>
            </a:r>
          </a:p>
        </p:txBody>
      </p:sp>
      <p:sp>
        <p:nvSpPr>
          <p:cNvPr id="63" name="Textfeld 62">
            <a:extLst>
              <a:ext uri="{FF2B5EF4-FFF2-40B4-BE49-F238E27FC236}">
                <a16:creationId xmlns:a16="http://schemas.microsoft.com/office/drawing/2014/main" id="{2C4CAF2F-EE16-4A78-B7E0-5119365728B9}"/>
              </a:ext>
            </a:extLst>
          </p:cNvPr>
          <p:cNvSpPr txBox="1"/>
          <p:nvPr/>
        </p:nvSpPr>
        <p:spPr>
          <a:xfrm>
            <a:off x="9565838" y="3491104"/>
            <a:ext cx="197426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200" b="1" dirty="0">
                <a:solidFill>
                  <a:schemeClr val="accent2"/>
                </a:solidFill>
              </a:rPr>
              <a:t>Schnelles </a:t>
            </a:r>
            <a:r>
              <a:rPr lang="de-DE" sz="1200" b="1" dirty="0" err="1">
                <a:solidFill>
                  <a:schemeClr val="accent2"/>
                </a:solidFill>
              </a:rPr>
              <a:t>Prototyping</a:t>
            </a:r>
            <a:r>
              <a:rPr lang="de-DE" sz="1200" b="1" dirty="0">
                <a:solidFill>
                  <a:schemeClr val="accent2"/>
                </a:solidFill>
              </a:rPr>
              <a:t> und Serienfertigung</a:t>
            </a:r>
          </a:p>
        </p:txBody>
      </p:sp>
      <p:sp>
        <p:nvSpPr>
          <p:cNvPr id="64" name="Additionszeichen 63">
            <a:extLst>
              <a:ext uri="{FF2B5EF4-FFF2-40B4-BE49-F238E27FC236}">
                <a16:creationId xmlns:a16="http://schemas.microsoft.com/office/drawing/2014/main" id="{12BE73F2-D47E-4B8F-9F73-AF5D38B63D3D}"/>
              </a:ext>
            </a:extLst>
          </p:cNvPr>
          <p:cNvSpPr/>
          <p:nvPr/>
        </p:nvSpPr>
        <p:spPr>
          <a:xfrm>
            <a:off x="8466678" y="2737423"/>
            <a:ext cx="636841" cy="538813"/>
          </a:xfrm>
          <a:prstGeom prst="mathPlus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dirty="0" err="1"/>
          </a:p>
        </p:txBody>
      </p:sp>
      <p:pic>
        <p:nvPicPr>
          <p:cNvPr id="65" name="Grafik 64">
            <a:extLst>
              <a:ext uri="{FF2B5EF4-FFF2-40B4-BE49-F238E27FC236}">
                <a16:creationId xmlns:a16="http://schemas.microsoft.com/office/drawing/2014/main" id="{79315441-E712-4840-BB3F-90BE122B93AE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 r="-842"/>
          <a:stretch/>
        </p:blipFill>
        <p:spPr>
          <a:xfrm>
            <a:off x="6253876" y="2527372"/>
            <a:ext cx="1722041" cy="905607"/>
          </a:xfrm>
          <a:prstGeom prst="rect">
            <a:avLst/>
          </a:prstGeom>
        </p:spPr>
      </p:pic>
      <p:sp>
        <p:nvSpPr>
          <p:cNvPr id="66" name="Gleichschenkliges Dreieck 65">
            <a:extLst>
              <a:ext uri="{FF2B5EF4-FFF2-40B4-BE49-F238E27FC236}">
                <a16:creationId xmlns:a16="http://schemas.microsoft.com/office/drawing/2014/main" id="{6DDBAA31-1A7A-4C1D-A420-9EC25B02856E}"/>
              </a:ext>
            </a:extLst>
          </p:cNvPr>
          <p:cNvSpPr/>
          <p:nvPr/>
        </p:nvSpPr>
        <p:spPr>
          <a:xfrm rot="5400000">
            <a:off x="3976043" y="4175027"/>
            <a:ext cx="2330754" cy="239613"/>
          </a:xfrm>
          <a:prstGeom prst="triangle">
            <a:avLst>
              <a:gd name="adj" fmla="val 49635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dirty="0" err="1"/>
          </a:p>
        </p:txBody>
      </p:sp>
      <p:sp>
        <p:nvSpPr>
          <p:cNvPr id="53" name="Pfeil: Fünfeck 52">
            <a:extLst>
              <a:ext uri="{FF2B5EF4-FFF2-40B4-BE49-F238E27FC236}">
                <a16:creationId xmlns:a16="http://schemas.microsoft.com/office/drawing/2014/main" id="{2E0E13D2-5027-43F0-96A7-83FEE9412187}"/>
              </a:ext>
            </a:extLst>
          </p:cNvPr>
          <p:cNvSpPr/>
          <p:nvPr/>
        </p:nvSpPr>
        <p:spPr>
          <a:xfrm rot="16200000">
            <a:off x="668677" y="1618509"/>
            <a:ext cx="3863957" cy="3857051"/>
          </a:xfrm>
          <a:prstGeom prst="homePlate">
            <a:avLst>
              <a:gd name="adj" fmla="val 23235"/>
            </a:avLst>
          </a:prstGeom>
          <a:solidFill>
            <a:schemeClr val="bg2"/>
          </a:solidFill>
          <a:ln w="19050">
            <a:solidFill>
              <a:schemeClr val="accent3"/>
            </a:solidFill>
          </a:ln>
          <a:effectLst>
            <a:outerShdw blurRad="50800" dist="38100" dir="2700000" algn="tl" rotWithShape="0">
              <a:schemeClr val="accent3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72000" tIns="72000" rIns="72000" bIns="72000" rtlCol="0" anchor="t"/>
          <a:lstStyle/>
          <a:p>
            <a:pPr marL="285750" indent="-285750">
              <a:buFont typeface="Wingdings" panose="05000000000000000000" pitchFamily="2" charset="2"/>
              <a:buChar char="§"/>
            </a:pPr>
            <a:endParaRPr lang="de-DE" sz="1200" b="1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DE" sz="1200" b="1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DE" sz="1200" b="1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DE" sz="1200" b="1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DE" sz="1200" b="1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DE" sz="1200" b="1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DE" sz="1200" b="1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DE" sz="1200" b="1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DE" sz="1200" b="1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200" b="1" dirty="0">
                <a:solidFill>
                  <a:schemeClr val="tx1"/>
                </a:solidFill>
              </a:rPr>
              <a:t>Beratung</a:t>
            </a:r>
            <a:r>
              <a:rPr lang="de-DE" sz="1200" dirty="0">
                <a:solidFill>
                  <a:schemeClr val="tx1"/>
                </a:solidFill>
              </a:rPr>
              <a:t> einzelner </a:t>
            </a:r>
            <a:r>
              <a:rPr lang="de-DE" sz="1200" b="1" dirty="0">
                <a:solidFill>
                  <a:schemeClr val="tx1"/>
                </a:solidFill>
              </a:rPr>
              <a:t>Serienteilprojekte</a:t>
            </a:r>
            <a:r>
              <a:rPr lang="de-DE" sz="1200" dirty="0">
                <a:solidFill>
                  <a:schemeClr val="tx1"/>
                </a:solidFill>
              </a:rPr>
              <a:t> </a:t>
            </a:r>
          </a:p>
          <a:p>
            <a:endParaRPr lang="de-DE" sz="1200" b="1" dirty="0">
              <a:solidFill>
                <a:schemeClr val="tx1"/>
              </a:solidFill>
            </a:endParaRPr>
          </a:p>
          <a:p>
            <a:endParaRPr lang="de-DE" sz="1200" b="1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200" b="1" dirty="0">
                <a:solidFill>
                  <a:schemeClr val="tx1"/>
                </a:solidFill>
              </a:rPr>
              <a:t>Einrichten</a:t>
            </a:r>
            <a:r>
              <a:rPr lang="de-DE" sz="1200" dirty="0">
                <a:solidFill>
                  <a:schemeClr val="tx1"/>
                </a:solidFill>
              </a:rPr>
              <a:t> von </a:t>
            </a:r>
            <a:r>
              <a:rPr lang="de-DE" sz="1200" b="1" dirty="0">
                <a:solidFill>
                  <a:schemeClr val="tx1"/>
                </a:solidFill>
              </a:rPr>
              <a:t>Schulungen</a:t>
            </a:r>
            <a:r>
              <a:rPr lang="de-DE" sz="1200" dirty="0">
                <a:solidFill>
                  <a:schemeClr val="tx1"/>
                </a:solidFill>
              </a:rPr>
              <a:t> zur Ausbildung von </a:t>
            </a:r>
            <a:r>
              <a:rPr lang="de-DE" sz="1200" b="1" dirty="0">
                <a:solidFill>
                  <a:schemeClr val="tx1"/>
                </a:solidFill>
              </a:rPr>
              <a:t>Ingenieuren</a:t>
            </a:r>
            <a:r>
              <a:rPr lang="de-DE" sz="1200" dirty="0">
                <a:solidFill>
                  <a:schemeClr val="tx1"/>
                </a:solidFill>
              </a:rPr>
              <a:t> und </a:t>
            </a:r>
            <a:r>
              <a:rPr lang="de-DE" sz="1200" b="1" dirty="0">
                <a:solidFill>
                  <a:schemeClr val="tx1"/>
                </a:solidFill>
              </a:rPr>
              <a:t>Identifizierung</a:t>
            </a:r>
            <a:r>
              <a:rPr lang="de-DE" sz="1200" dirty="0">
                <a:solidFill>
                  <a:schemeClr val="tx1"/>
                </a:solidFill>
              </a:rPr>
              <a:t> geeigneter Teile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DE" sz="1200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DE" sz="1200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200" b="1" dirty="0">
                <a:solidFill>
                  <a:schemeClr val="tx1"/>
                </a:solidFill>
              </a:rPr>
              <a:t>Einbeziehung</a:t>
            </a:r>
            <a:r>
              <a:rPr lang="de-DE" sz="1200" dirty="0">
                <a:solidFill>
                  <a:schemeClr val="tx1"/>
                </a:solidFill>
              </a:rPr>
              <a:t> der </a:t>
            </a:r>
            <a:r>
              <a:rPr lang="de-DE" sz="1200" b="1" dirty="0">
                <a:solidFill>
                  <a:schemeClr val="tx1"/>
                </a:solidFill>
              </a:rPr>
              <a:t>Ingenieure</a:t>
            </a:r>
            <a:r>
              <a:rPr lang="de-DE" sz="1200" dirty="0">
                <a:solidFill>
                  <a:schemeClr val="tx1"/>
                </a:solidFill>
              </a:rPr>
              <a:t> in die Umsetzung von AM – </a:t>
            </a:r>
            <a:r>
              <a:rPr lang="de-DE" sz="1200" b="1" dirty="0">
                <a:solidFill>
                  <a:schemeClr val="tx1"/>
                </a:solidFill>
              </a:rPr>
              <a:t>Akzeptanz</a:t>
            </a:r>
            <a:r>
              <a:rPr lang="de-DE" sz="1200" dirty="0">
                <a:solidFill>
                  <a:schemeClr val="tx1"/>
                </a:solidFill>
              </a:rPr>
              <a:t> und </a:t>
            </a:r>
            <a:r>
              <a:rPr lang="de-DE" sz="1200" b="1" dirty="0">
                <a:solidFill>
                  <a:schemeClr val="tx1"/>
                </a:solidFill>
              </a:rPr>
              <a:t>Enthusiasmus</a:t>
            </a:r>
            <a:r>
              <a:rPr lang="de-DE" sz="1200" dirty="0">
                <a:solidFill>
                  <a:schemeClr val="tx1"/>
                </a:solidFill>
              </a:rPr>
              <a:t> wecken</a:t>
            </a:r>
          </a:p>
          <a:p>
            <a:endParaRPr lang="de-DE" sz="1200" b="1" dirty="0">
              <a:solidFill>
                <a:schemeClr val="tx1"/>
              </a:solidFill>
            </a:endParaRPr>
          </a:p>
          <a:p>
            <a:endParaRPr lang="de-DE" sz="1200" b="1" dirty="0">
              <a:solidFill>
                <a:schemeClr val="tx1"/>
              </a:solidFill>
            </a:endParaRPr>
          </a:p>
          <a:p>
            <a:pPr algn="ctr"/>
            <a:r>
              <a:rPr lang="de-DE" b="1" dirty="0">
                <a:solidFill>
                  <a:schemeClr val="accent3"/>
                </a:solidFill>
              </a:rPr>
              <a:t>BOTTOM UP</a:t>
            </a:r>
          </a:p>
          <a:p>
            <a:pPr algn="ctr"/>
            <a:endParaRPr lang="de-DE" dirty="0" err="1"/>
          </a:p>
        </p:txBody>
      </p:sp>
      <p:pic>
        <p:nvPicPr>
          <p:cNvPr id="55" name="Grafik 54">
            <a:extLst>
              <a:ext uri="{FF2B5EF4-FFF2-40B4-BE49-F238E27FC236}">
                <a16:creationId xmlns:a16="http://schemas.microsoft.com/office/drawing/2014/main" id="{032BABC8-5633-49EE-8156-F05F25C8E16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755" t="-310" r="120" b="4375"/>
          <a:stretch/>
        </p:blipFill>
        <p:spPr>
          <a:xfrm>
            <a:off x="1355234" y="2764748"/>
            <a:ext cx="1139003" cy="790738"/>
          </a:xfrm>
          <a:prstGeom prst="rect">
            <a:avLst/>
          </a:prstGeom>
        </p:spPr>
      </p:pic>
      <p:pic>
        <p:nvPicPr>
          <p:cNvPr id="56" name="Grafik 55">
            <a:extLst>
              <a:ext uri="{FF2B5EF4-FFF2-40B4-BE49-F238E27FC236}">
                <a16:creationId xmlns:a16="http://schemas.microsoft.com/office/drawing/2014/main" id="{30986268-36C0-4109-A356-93EC4E7D17D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53345" y="2764748"/>
            <a:ext cx="1185513" cy="790738"/>
          </a:xfrm>
          <a:prstGeom prst="rect">
            <a:avLst/>
          </a:prstGeom>
        </p:spPr>
      </p:pic>
      <p:grpSp>
        <p:nvGrpSpPr>
          <p:cNvPr id="57" name="Gruppieren 56">
            <a:extLst>
              <a:ext uri="{FF2B5EF4-FFF2-40B4-BE49-F238E27FC236}">
                <a16:creationId xmlns:a16="http://schemas.microsoft.com/office/drawing/2014/main" id="{01BAB11E-8ACF-4911-AB3C-72272CEBB663}"/>
              </a:ext>
            </a:extLst>
          </p:cNvPr>
          <p:cNvGrpSpPr/>
          <p:nvPr/>
        </p:nvGrpSpPr>
        <p:grpSpPr>
          <a:xfrm>
            <a:off x="3807328" y="3679775"/>
            <a:ext cx="607716" cy="439533"/>
            <a:chOff x="4470001" y="6136778"/>
            <a:chExt cx="607856" cy="294037"/>
          </a:xfrm>
        </p:grpSpPr>
        <p:sp>
          <p:nvSpPr>
            <p:cNvPr id="58" name="Rechteck 57">
              <a:extLst>
                <a:ext uri="{FF2B5EF4-FFF2-40B4-BE49-F238E27FC236}">
                  <a16:creationId xmlns:a16="http://schemas.microsoft.com/office/drawing/2014/main" id="{6363C55E-C28C-4F9E-AC76-11BAA4BD95D6}"/>
                </a:ext>
              </a:extLst>
            </p:cNvPr>
            <p:cNvSpPr/>
            <p:nvPr/>
          </p:nvSpPr>
          <p:spPr>
            <a:xfrm>
              <a:off x="4470001" y="6356350"/>
              <a:ext cx="122109" cy="7446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 err="1"/>
            </a:p>
          </p:txBody>
        </p:sp>
        <p:sp>
          <p:nvSpPr>
            <p:cNvPr id="59" name="Rechteck 58">
              <a:extLst>
                <a:ext uri="{FF2B5EF4-FFF2-40B4-BE49-F238E27FC236}">
                  <a16:creationId xmlns:a16="http://schemas.microsoft.com/office/drawing/2014/main" id="{229A4A06-B206-4E29-9F16-30B04BC295FD}"/>
                </a:ext>
              </a:extLst>
            </p:cNvPr>
            <p:cNvSpPr/>
            <p:nvPr/>
          </p:nvSpPr>
          <p:spPr>
            <a:xfrm>
              <a:off x="4631917" y="6356350"/>
              <a:ext cx="122109" cy="7446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 err="1"/>
            </a:p>
          </p:txBody>
        </p:sp>
        <p:sp>
          <p:nvSpPr>
            <p:cNvPr id="60" name="Rechteck 59">
              <a:extLst>
                <a:ext uri="{FF2B5EF4-FFF2-40B4-BE49-F238E27FC236}">
                  <a16:creationId xmlns:a16="http://schemas.microsoft.com/office/drawing/2014/main" id="{EF4254CA-36D7-431D-AE73-760C16FDF410}"/>
                </a:ext>
              </a:extLst>
            </p:cNvPr>
            <p:cNvSpPr/>
            <p:nvPr/>
          </p:nvSpPr>
          <p:spPr>
            <a:xfrm>
              <a:off x="4793833" y="6356350"/>
              <a:ext cx="122109" cy="7446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 err="1"/>
            </a:p>
          </p:txBody>
        </p:sp>
        <p:sp>
          <p:nvSpPr>
            <p:cNvPr id="61" name="Rechteck 60">
              <a:extLst>
                <a:ext uri="{FF2B5EF4-FFF2-40B4-BE49-F238E27FC236}">
                  <a16:creationId xmlns:a16="http://schemas.microsoft.com/office/drawing/2014/main" id="{39C20DC0-6C6B-49FA-895E-8942634276F3}"/>
                </a:ext>
              </a:extLst>
            </p:cNvPr>
            <p:cNvSpPr/>
            <p:nvPr/>
          </p:nvSpPr>
          <p:spPr>
            <a:xfrm>
              <a:off x="4955748" y="6356350"/>
              <a:ext cx="122109" cy="7446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 err="1"/>
            </a:p>
          </p:txBody>
        </p:sp>
        <p:sp>
          <p:nvSpPr>
            <p:cNvPr id="67" name="Rechteck 66">
              <a:extLst>
                <a:ext uri="{FF2B5EF4-FFF2-40B4-BE49-F238E27FC236}">
                  <a16:creationId xmlns:a16="http://schemas.microsoft.com/office/drawing/2014/main" id="{13BCDB58-3DCA-4AA5-AD88-465955C1486B}"/>
                </a:ext>
              </a:extLst>
            </p:cNvPr>
            <p:cNvSpPr/>
            <p:nvPr/>
          </p:nvSpPr>
          <p:spPr>
            <a:xfrm>
              <a:off x="4793832" y="6136778"/>
              <a:ext cx="122109" cy="7446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 err="1"/>
            </a:p>
          </p:txBody>
        </p:sp>
        <p:sp>
          <p:nvSpPr>
            <p:cNvPr id="68" name="Rechteck 67">
              <a:extLst>
                <a:ext uri="{FF2B5EF4-FFF2-40B4-BE49-F238E27FC236}">
                  <a16:creationId xmlns:a16="http://schemas.microsoft.com/office/drawing/2014/main" id="{95DB1E96-5B2F-4A09-BA5A-3AAB6E0E68E8}"/>
                </a:ext>
              </a:extLst>
            </p:cNvPr>
            <p:cNvSpPr/>
            <p:nvPr/>
          </p:nvSpPr>
          <p:spPr>
            <a:xfrm>
              <a:off x="4631916" y="6136778"/>
              <a:ext cx="122109" cy="7446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 err="1"/>
            </a:p>
          </p:txBody>
        </p:sp>
        <p:cxnSp>
          <p:nvCxnSpPr>
            <p:cNvPr id="69" name="Gerader Verbinder 68">
              <a:extLst>
                <a:ext uri="{FF2B5EF4-FFF2-40B4-BE49-F238E27FC236}">
                  <a16:creationId xmlns:a16="http://schemas.microsoft.com/office/drawing/2014/main" id="{1049081E-6676-49AE-96A3-ECC14F713D30}"/>
                </a:ext>
              </a:extLst>
            </p:cNvPr>
            <p:cNvCxnSpPr>
              <a:cxnSpLocks/>
            </p:cNvCxnSpPr>
            <p:nvPr/>
          </p:nvCxnSpPr>
          <p:spPr>
            <a:xfrm>
              <a:off x="4531055" y="6282852"/>
              <a:ext cx="0" cy="5596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r Verbinder 69">
              <a:extLst>
                <a:ext uri="{FF2B5EF4-FFF2-40B4-BE49-F238E27FC236}">
                  <a16:creationId xmlns:a16="http://schemas.microsoft.com/office/drawing/2014/main" id="{EE9D2C40-8D37-4B56-B76D-C9160D57E5EF}"/>
                </a:ext>
              </a:extLst>
            </p:cNvPr>
            <p:cNvCxnSpPr>
              <a:cxnSpLocks/>
            </p:cNvCxnSpPr>
            <p:nvPr/>
          </p:nvCxnSpPr>
          <p:spPr>
            <a:xfrm>
              <a:off x="4692971" y="6282852"/>
              <a:ext cx="0" cy="5596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r Verbinder 70">
              <a:extLst>
                <a:ext uri="{FF2B5EF4-FFF2-40B4-BE49-F238E27FC236}">
                  <a16:creationId xmlns:a16="http://schemas.microsoft.com/office/drawing/2014/main" id="{CA12FED9-61F3-408E-9865-1158811F0D10}"/>
                </a:ext>
              </a:extLst>
            </p:cNvPr>
            <p:cNvCxnSpPr>
              <a:cxnSpLocks/>
            </p:cNvCxnSpPr>
            <p:nvPr/>
          </p:nvCxnSpPr>
          <p:spPr>
            <a:xfrm>
              <a:off x="4854887" y="6282852"/>
              <a:ext cx="0" cy="5596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r Verbinder 71">
              <a:extLst>
                <a:ext uri="{FF2B5EF4-FFF2-40B4-BE49-F238E27FC236}">
                  <a16:creationId xmlns:a16="http://schemas.microsoft.com/office/drawing/2014/main" id="{98442006-E8E3-4B73-8255-E0D26E7E72B9}"/>
                </a:ext>
              </a:extLst>
            </p:cNvPr>
            <p:cNvCxnSpPr>
              <a:cxnSpLocks/>
            </p:cNvCxnSpPr>
            <p:nvPr/>
          </p:nvCxnSpPr>
          <p:spPr>
            <a:xfrm>
              <a:off x="5016802" y="6282852"/>
              <a:ext cx="0" cy="5596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r Verbinder 72">
              <a:extLst>
                <a:ext uri="{FF2B5EF4-FFF2-40B4-BE49-F238E27FC236}">
                  <a16:creationId xmlns:a16="http://schemas.microsoft.com/office/drawing/2014/main" id="{341DB7BC-727C-4A31-AF85-3228F9615271}"/>
                </a:ext>
              </a:extLst>
            </p:cNvPr>
            <p:cNvCxnSpPr>
              <a:cxnSpLocks/>
            </p:cNvCxnSpPr>
            <p:nvPr/>
          </p:nvCxnSpPr>
          <p:spPr>
            <a:xfrm>
              <a:off x="4521992" y="6282852"/>
              <a:ext cx="504000" cy="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r Verbinder 73">
              <a:extLst>
                <a:ext uri="{FF2B5EF4-FFF2-40B4-BE49-F238E27FC236}">
                  <a16:creationId xmlns:a16="http://schemas.microsoft.com/office/drawing/2014/main" id="{1FA9A78C-9FF3-47EF-9BA7-08E41FA6CC91}"/>
                </a:ext>
              </a:extLst>
            </p:cNvPr>
            <p:cNvCxnSpPr>
              <a:cxnSpLocks/>
            </p:cNvCxnSpPr>
            <p:nvPr/>
          </p:nvCxnSpPr>
          <p:spPr>
            <a:xfrm>
              <a:off x="4692971" y="6226892"/>
              <a:ext cx="0" cy="5596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r Verbinder 74">
              <a:extLst>
                <a:ext uri="{FF2B5EF4-FFF2-40B4-BE49-F238E27FC236}">
                  <a16:creationId xmlns:a16="http://schemas.microsoft.com/office/drawing/2014/main" id="{39F27234-3DE6-48D6-A7EB-A6328D2D68E2}"/>
                </a:ext>
              </a:extLst>
            </p:cNvPr>
            <p:cNvCxnSpPr>
              <a:cxnSpLocks/>
            </p:cNvCxnSpPr>
            <p:nvPr/>
          </p:nvCxnSpPr>
          <p:spPr>
            <a:xfrm>
              <a:off x="4854887" y="6226892"/>
              <a:ext cx="0" cy="5596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125427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animBg="1"/>
      <p:bldP spid="26" grpId="0" animBg="1"/>
      <p:bldP spid="62" grpId="0"/>
      <p:bldP spid="63" grpId="0"/>
      <p:bldP spid="64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5631AD7-099B-4F16-B43F-73C08623EB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dirty="0"/>
              <a:t>Ansatz für die Implementierung von AM</a:t>
            </a:r>
          </a:p>
        </p:txBody>
      </p:sp>
      <p:sp>
        <p:nvSpPr>
          <p:cNvPr id="31" name="Inhaltsplatzhalter 30">
            <a:extLst>
              <a:ext uri="{FF2B5EF4-FFF2-40B4-BE49-F238E27FC236}">
                <a16:creationId xmlns:a16="http://schemas.microsoft.com/office/drawing/2014/main" id="{318A8DE7-30F5-AA03-053F-3AEB548BC93B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CE19F57F-119E-B6A1-DEAF-D8B1D2C806C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Ein Prozess von der Teileidentifikation bis zur Serienproduktion </a:t>
            </a:r>
          </a:p>
          <a:p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281F547-1808-3039-FA47-A4C93FA973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D57957C-F0F3-7842-B0E2-B762F92D6487}" type="slidenum">
              <a:rPr lang="de-DE" b="0" smtClean="0">
                <a:solidFill>
                  <a:schemeClr val="tx1"/>
                </a:solidFill>
              </a:rPr>
              <a:pPr/>
              <a:t>8</a:t>
            </a:fld>
            <a:r>
              <a:rPr lang="de-DE">
                <a:solidFill>
                  <a:schemeClr val="accent1"/>
                </a:solidFill>
              </a:rPr>
              <a:t>  </a:t>
            </a:r>
            <a:r>
              <a:rPr lang="de-DE" b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B460332-7EE7-7C2D-2E10-065D7AC83FA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Thomas Kieferle | Innovationswerkstatt MT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9119F9D-B031-489A-BF93-738B1F85D32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AB19A4FC-76FE-4B52-A6BC-C4A9405F94A9}" type="datetime1">
              <a:rPr lang="de-DE" smtClean="0"/>
              <a:pPr/>
              <a:t>21.04.2023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55FEE45-AA0F-4BB1-890F-E9937CBC8188}"/>
              </a:ext>
            </a:extLst>
          </p:cNvPr>
          <p:cNvSpPr>
            <a:spLocks noGrp="1"/>
          </p:cNvSpPr>
          <p:nvPr/>
        </p:nvSpPr>
        <p:spPr>
          <a:xfrm>
            <a:off x="443019" y="953658"/>
            <a:ext cx="10845674" cy="328335"/>
          </a:xfrm>
          <a:prstGeom prst="rect">
            <a:avLst/>
          </a:prstGeom>
        </p:spPr>
        <p:txBody>
          <a:bodyPr/>
          <a:lstStyle>
            <a:lvl1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de-DE" sz="2800" b="0" kern="1200" smtClean="0">
                <a:solidFill>
                  <a:schemeClr val="tx2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  <a:lvl2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None/>
              <a:defRPr lang="de-DE" sz="1600" b="0" i="0" kern="12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21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lang="de-DE" sz="1600" b="0" i="0" kern="12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43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lang="de-DE" sz="1600" b="0" i="0" kern="12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648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lang="de-DE"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64000" indent="-216000" algn="l" defTabSz="914355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lang="de-DE" sz="1600" b="0" i="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0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9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1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/>
          </a:p>
        </p:txBody>
      </p:sp>
      <p:sp>
        <p:nvSpPr>
          <p:cNvPr id="7" name="MIO_OBJECT3">
            <a:extLst>
              <a:ext uri="{FF2B5EF4-FFF2-40B4-BE49-F238E27FC236}">
                <a16:creationId xmlns:a16="http://schemas.microsoft.com/office/drawing/2014/main" id="{A1D0CF7B-2D75-4BB8-A80C-8D96D8EA8EF9}"/>
              </a:ext>
            </a:extLst>
          </p:cNvPr>
          <p:cNvSpPr/>
          <p:nvPr/>
        </p:nvSpPr>
        <p:spPr>
          <a:xfrm>
            <a:off x="589051" y="3605818"/>
            <a:ext cx="1411174" cy="444982"/>
          </a:xfrm>
          <a:prstGeom prst="rect">
            <a:avLst/>
          </a:prstGeom>
          <a:solidFill>
            <a:srgbClr val="93C11C"/>
          </a:solidFill>
          <a:ln w="9525" cap="flat" cmpd="sng" algn="ctr">
            <a:solidFill>
              <a:srgbClr val="93C11C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66472" rIns="36000" bIns="66472" rtlCol="0" anchor="ctr" anchorCtr="0"/>
          <a:lstStyle/>
          <a:p>
            <a:pPr algn="ctr"/>
            <a:r>
              <a:rPr lang="de-DE" sz="1200" b="1" dirty="0">
                <a:latin typeface="Arial" panose="020B0604020202020204" pitchFamily="34" charset="0"/>
              </a:rPr>
              <a:t>Teileidentifikation</a:t>
            </a:r>
          </a:p>
        </p:txBody>
      </p:sp>
      <p:sp>
        <p:nvSpPr>
          <p:cNvPr id="8" name="MIO_OBJECT3">
            <a:extLst>
              <a:ext uri="{FF2B5EF4-FFF2-40B4-BE49-F238E27FC236}">
                <a16:creationId xmlns:a16="http://schemas.microsoft.com/office/drawing/2014/main" id="{147E3C13-DE01-48F4-AE7D-CDB90703F514}"/>
              </a:ext>
            </a:extLst>
          </p:cNvPr>
          <p:cNvSpPr/>
          <p:nvPr/>
        </p:nvSpPr>
        <p:spPr>
          <a:xfrm>
            <a:off x="2069516" y="3605818"/>
            <a:ext cx="1411174" cy="444982"/>
          </a:xfrm>
          <a:prstGeom prst="rect">
            <a:avLst/>
          </a:prstGeom>
          <a:solidFill>
            <a:srgbClr val="93C11C"/>
          </a:solidFill>
          <a:ln w="9525" cap="flat" cmpd="sng" algn="ctr">
            <a:solidFill>
              <a:srgbClr val="93C11C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66472" rIns="36000" bIns="66472" rtlCol="0" anchor="ctr" anchorCtr="0"/>
          <a:lstStyle/>
          <a:p>
            <a:pPr algn="ctr"/>
            <a:r>
              <a:rPr lang="de-DE" sz="1200" b="1" dirty="0">
                <a:latin typeface="Arial" panose="020B0604020202020204" pitchFamily="34" charset="0"/>
              </a:rPr>
              <a:t>Bauteilgestaltung / Design</a:t>
            </a:r>
          </a:p>
        </p:txBody>
      </p:sp>
      <p:sp>
        <p:nvSpPr>
          <p:cNvPr id="9" name="MIO_OBJECT3">
            <a:extLst>
              <a:ext uri="{FF2B5EF4-FFF2-40B4-BE49-F238E27FC236}">
                <a16:creationId xmlns:a16="http://schemas.microsoft.com/office/drawing/2014/main" id="{B97EB273-A353-4FE3-A7BC-54A3A59E5FF8}"/>
              </a:ext>
            </a:extLst>
          </p:cNvPr>
          <p:cNvSpPr/>
          <p:nvPr/>
        </p:nvSpPr>
        <p:spPr>
          <a:xfrm>
            <a:off x="3549688" y="3605818"/>
            <a:ext cx="1411174" cy="444982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66472" rIns="36000" bIns="66472" rtlCol="0" anchor="ctr" anchorCtr="0"/>
          <a:lstStyle/>
          <a:p>
            <a:pPr algn="ctr"/>
            <a:r>
              <a:rPr lang="de-DE" sz="1200" b="1" dirty="0">
                <a:latin typeface="Arial" panose="020B0604020202020204" pitchFamily="34" charset="0"/>
              </a:rPr>
              <a:t>Daten-vorbereitung</a:t>
            </a:r>
          </a:p>
        </p:txBody>
      </p:sp>
      <p:sp>
        <p:nvSpPr>
          <p:cNvPr id="10" name="MIO_OBJECT3">
            <a:extLst>
              <a:ext uri="{FF2B5EF4-FFF2-40B4-BE49-F238E27FC236}">
                <a16:creationId xmlns:a16="http://schemas.microsoft.com/office/drawing/2014/main" id="{7F2656A0-4A5F-4BCD-B97F-74A01E347FCA}"/>
              </a:ext>
            </a:extLst>
          </p:cNvPr>
          <p:cNvSpPr/>
          <p:nvPr/>
        </p:nvSpPr>
        <p:spPr>
          <a:xfrm>
            <a:off x="5029865" y="3605818"/>
            <a:ext cx="1411174" cy="444982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66472" rIns="36000" bIns="66472" rtlCol="0" anchor="ctr" anchorCtr="0"/>
          <a:lstStyle/>
          <a:p>
            <a:pPr algn="ctr"/>
            <a:r>
              <a:rPr lang="de-DE" sz="1200" b="1" dirty="0">
                <a:latin typeface="Arial" panose="020B0604020202020204" pitchFamily="34" charset="0"/>
              </a:rPr>
              <a:t>Prototyp</a:t>
            </a:r>
          </a:p>
        </p:txBody>
      </p:sp>
      <p:sp>
        <p:nvSpPr>
          <p:cNvPr id="11" name="MIO_OBJECT5">
            <a:extLst>
              <a:ext uri="{FF2B5EF4-FFF2-40B4-BE49-F238E27FC236}">
                <a16:creationId xmlns:a16="http://schemas.microsoft.com/office/drawing/2014/main" id="{6194448D-96E0-49DA-9B64-35A8375BF05A}"/>
              </a:ext>
            </a:extLst>
          </p:cNvPr>
          <p:cNvSpPr/>
          <p:nvPr/>
        </p:nvSpPr>
        <p:spPr>
          <a:xfrm>
            <a:off x="6509907" y="3605818"/>
            <a:ext cx="1411174" cy="444982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66472" rIns="36000" bIns="66472" rtlCol="0" anchor="ctr" anchorCtr="0"/>
          <a:lstStyle/>
          <a:p>
            <a:pPr algn="ctr"/>
            <a:r>
              <a:rPr lang="de-DE" sz="1200" b="1" dirty="0">
                <a:latin typeface="Arial" panose="020B0604020202020204" pitchFamily="34" charset="0"/>
              </a:rPr>
              <a:t>Industrialisierung</a:t>
            </a:r>
          </a:p>
        </p:txBody>
      </p:sp>
      <p:sp>
        <p:nvSpPr>
          <p:cNvPr id="12" name="MIO_OBJECT3">
            <a:extLst>
              <a:ext uri="{FF2B5EF4-FFF2-40B4-BE49-F238E27FC236}">
                <a16:creationId xmlns:a16="http://schemas.microsoft.com/office/drawing/2014/main" id="{10F5D3AD-AA5B-4EDE-918E-0582319F5267}"/>
              </a:ext>
            </a:extLst>
          </p:cNvPr>
          <p:cNvSpPr/>
          <p:nvPr/>
        </p:nvSpPr>
        <p:spPr>
          <a:xfrm>
            <a:off x="7990079" y="3605818"/>
            <a:ext cx="1411174" cy="444982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66472" rIns="36000" bIns="66472" rtlCol="0" anchor="ctr" anchorCtr="0"/>
          <a:lstStyle/>
          <a:p>
            <a:pPr algn="ctr"/>
            <a:r>
              <a:rPr lang="de-DE" sz="1200" b="1" dirty="0">
                <a:latin typeface="Arial" panose="020B0604020202020204" pitchFamily="34" charset="0"/>
              </a:rPr>
              <a:t>Serienfertigung</a:t>
            </a:r>
          </a:p>
        </p:txBody>
      </p:sp>
      <p:sp>
        <p:nvSpPr>
          <p:cNvPr id="13" name="MIO_OBJECT3">
            <a:extLst>
              <a:ext uri="{FF2B5EF4-FFF2-40B4-BE49-F238E27FC236}">
                <a16:creationId xmlns:a16="http://schemas.microsoft.com/office/drawing/2014/main" id="{2929F5A3-E689-4175-890B-83ABF5527D5E}"/>
              </a:ext>
            </a:extLst>
          </p:cNvPr>
          <p:cNvSpPr/>
          <p:nvPr/>
        </p:nvSpPr>
        <p:spPr>
          <a:xfrm>
            <a:off x="1243099" y="3546442"/>
            <a:ext cx="137676" cy="118662"/>
          </a:xfrm>
          <a:prstGeom prst="diamond">
            <a:avLst/>
          </a:prstGeom>
          <a:solidFill>
            <a:srgbClr val="93C11C"/>
          </a:solidFill>
          <a:ln w="12700" cap="flat" cmpd="sng" algn="ctr">
            <a:solidFill>
              <a:srgbClr val="93C11C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t" anchorCtr="0"/>
          <a:lstStyle/>
          <a:p>
            <a:pPr indent="164145"/>
            <a:endParaRPr lang="de-DE" sz="1200" dirty="0" err="1">
              <a:solidFill>
                <a:schemeClr val="tx1"/>
              </a:solidFill>
            </a:endParaRPr>
          </a:p>
        </p:txBody>
      </p:sp>
      <p:cxnSp>
        <p:nvCxnSpPr>
          <p:cNvPr id="14" name="MIO_LINE">
            <a:extLst>
              <a:ext uri="{FF2B5EF4-FFF2-40B4-BE49-F238E27FC236}">
                <a16:creationId xmlns:a16="http://schemas.microsoft.com/office/drawing/2014/main" id="{B773F828-A440-4E21-8890-83759ACCF179}"/>
              </a:ext>
            </a:extLst>
          </p:cNvPr>
          <p:cNvCxnSpPr/>
          <p:nvPr/>
        </p:nvCxnSpPr>
        <p:spPr>
          <a:xfrm flipV="1">
            <a:off x="1311927" y="2003653"/>
            <a:ext cx="0" cy="1542605"/>
          </a:xfrm>
          <a:prstGeom prst="line">
            <a:avLst/>
          </a:prstGeom>
          <a:ln w="9525" cap="flat" cmpd="sng" algn="ctr">
            <a:solidFill>
              <a:srgbClr val="70707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MIO_OBJECT3">
            <a:extLst>
              <a:ext uri="{FF2B5EF4-FFF2-40B4-BE49-F238E27FC236}">
                <a16:creationId xmlns:a16="http://schemas.microsoft.com/office/drawing/2014/main" id="{B8EE58BB-6A41-4ECC-94F7-A30158EEDB33}"/>
              </a:ext>
            </a:extLst>
          </p:cNvPr>
          <p:cNvSpPr/>
          <p:nvPr/>
        </p:nvSpPr>
        <p:spPr>
          <a:xfrm>
            <a:off x="4203679" y="3546442"/>
            <a:ext cx="137676" cy="118662"/>
          </a:xfrm>
          <a:prstGeom prst="diamond">
            <a:avLst/>
          </a:prstGeom>
          <a:solidFill>
            <a:schemeClr val="tx2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t" anchorCtr="0"/>
          <a:lstStyle/>
          <a:p>
            <a:pPr indent="164145"/>
            <a:endParaRPr lang="de-DE" sz="1200" dirty="0" err="1">
              <a:solidFill>
                <a:schemeClr val="tx1"/>
              </a:solidFill>
            </a:endParaRPr>
          </a:p>
        </p:txBody>
      </p:sp>
      <p:cxnSp>
        <p:nvCxnSpPr>
          <p:cNvPr id="16" name="MIO_LINE">
            <a:extLst>
              <a:ext uri="{FF2B5EF4-FFF2-40B4-BE49-F238E27FC236}">
                <a16:creationId xmlns:a16="http://schemas.microsoft.com/office/drawing/2014/main" id="{E2B48790-7FE2-4F36-A107-709E105B382D}"/>
              </a:ext>
            </a:extLst>
          </p:cNvPr>
          <p:cNvCxnSpPr/>
          <p:nvPr/>
        </p:nvCxnSpPr>
        <p:spPr>
          <a:xfrm flipV="1">
            <a:off x="4272509" y="2003653"/>
            <a:ext cx="0" cy="1542605"/>
          </a:xfrm>
          <a:prstGeom prst="line">
            <a:avLst/>
          </a:prstGeom>
          <a:ln w="9525" cap="flat" cmpd="sng" algn="ctr">
            <a:solidFill>
              <a:srgbClr val="70707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MIO_OBJECT5">
            <a:extLst>
              <a:ext uri="{FF2B5EF4-FFF2-40B4-BE49-F238E27FC236}">
                <a16:creationId xmlns:a16="http://schemas.microsoft.com/office/drawing/2014/main" id="{3E81F0BF-DB35-442C-8B98-7D3CF0458FF8}"/>
              </a:ext>
            </a:extLst>
          </p:cNvPr>
          <p:cNvSpPr/>
          <p:nvPr/>
        </p:nvSpPr>
        <p:spPr>
          <a:xfrm>
            <a:off x="7164032" y="3546442"/>
            <a:ext cx="137676" cy="118662"/>
          </a:xfrm>
          <a:prstGeom prst="diamond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t" anchorCtr="0"/>
          <a:lstStyle/>
          <a:p>
            <a:pPr indent="164145"/>
            <a:endParaRPr lang="de-DE" sz="1200" dirty="0" err="1">
              <a:solidFill>
                <a:schemeClr val="bg1"/>
              </a:solidFill>
            </a:endParaRPr>
          </a:p>
        </p:txBody>
      </p:sp>
      <p:cxnSp>
        <p:nvCxnSpPr>
          <p:cNvPr id="18" name="MIO_LINE">
            <a:extLst>
              <a:ext uri="{FF2B5EF4-FFF2-40B4-BE49-F238E27FC236}">
                <a16:creationId xmlns:a16="http://schemas.microsoft.com/office/drawing/2014/main" id="{719956D0-6B0F-4B2A-BA03-732BEF7620AB}"/>
              </a:ext>
            </a:extLst>
          </p:cNvPr>
          <p:cNvCxnSpPr/>
          <p:nvPr/>
        </p:nvCxnSpPr>
        <p:spPr>
          <a:xfrm flipV="1">
            <a:off x="7232857" y="2003653"/>
            <a:ext cx="0" cy="1542605"/>
          </a:xfrm>
          <a:prstGeom prst="line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MIO_OBJECT3">
            <a:extLst>
              <a:ext uri="{FF2B5EF4-FFF2-40B4-BE49-F238E27FC236}">
                <a16:creationId xmlns:a16="http://schemas.microsoft.com/office/drawing/2014/main" id="{EB4ADB5A-B059-4700-83EA-D34D8BB4918D}"/>
              </a:ext>
            </a:extLst>
          </p:cNvPr>
          <p:cNvSpPr/>
          <p:nvPr/>
        </p:nvSpPr>
        <p:spPr>
          <a:xfrm>
            <a:off x="2688835" y="3991460"/>
            <a:ext cx="137676" cy="118662"/>
          </a:xfrm>
          <a:prstGeom prst="diamond">
            <a:avLst/>
          </a:prstGeom>
          <a:solidFill>
            <a:srgbClr val="93C11C"/>
          </a:solidFill>
          <a:ln w="12700" cap="flat" cmpd="sng" algn="ctr">
            <a:solidFill>
              <a:srgbClr val="93C11C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indent="164145"/>
            <a:endParaRPr lang="de-DE" sz="800" dirty="0" err="1">
              <a:solidFill>
                <a:schemeClr val="tx1"/>
              </a:solidFill>
            </a:endParaRPr>
          </a:p>
        </p:txBody>
      </p:sp>
      <p:cxnSp>
        <p:nvCxnSpPr>
          <p:cNvPr id="20" name="MIO_LINE">
            <a:extLst>
              <a:ext uri="{FF2B5EF4-FFF2-40B4-BE49-F238E27FC236}">
                <a16:creationId xmlns:a16="http://schemas.microsoft.com/office/drawing/2014/main" id="{D0ADAC20-14F5-4A51-8C50-CC1F17D7B4C8}"/>
              </a:ext>
            </a:extLst>
          </p:cNvPr>
          <p:cNvCxnSpPr>
            <a:cxnSpLocks/>
          </p:cNvCxnSpPr>
          <p:nvPr/>
        </p:nvCxnSpPr>
        <p:spPr>
          <a:xfrm flipH="1" flipV="1">
            <a:off x="2757664" y="4110137"/>
            <a:ext cx="17438" cy="1718262"/>
          </a:xfrm>
          <a:prstGeom prst="line">
            <a:avLst/>
          </a:prstGeom>
          <a:ln w="9525" cap="flat" cmpd="sng" algn="ctr">
            <a:solidFill>
              <a:srgbClr val="70707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MIO_OBJECT3">
            <a:extLst>
              <a:ext uri="{FF2B5EF4-FFF2-40B4-BE49-F238E27FC236}">
                <a16:creationId xmlns:a16="http://schemas.microsoft.com/office/drawing/2014/main" id="{E82AEAE6-45CF-4BF5-B097-85E9B7548670}"/>
              </a:ext>
            </a:extLst>
          </p:cNvPr>
          <p:cNvSpPr/>
          <p:nvPr/>
        </p:nvSpPr>
        <p:spPr>
          <a:xfrm>
            <a:off x="5649186" y="3991460"/>
            <a:ext cx="137676" cy="118662"/>
          </a:xfrm>
          <a:prstGeom prst="diamond">
            <a:avLst/>
          </a:prstGeom>
          <a:solidFill>
            <a:schemeClr val="tx2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indent="164145"/>
            <a:endParaRPr lang="de-DE" sz="800" dirty="0" err="1">
              <a:solidFill>
                <a:schemeClr val="tx1"/>
              </a:solidFill>
            </a:endParaRPr>
          </a:p>
        </p:txBody>
      </p:sp>
      <p:cxnSp>
        <p:nvCxnSpPr>
          <p:cNvPr id="22" name="MIO_LINE">
            <a:extLst>
              <a:ext uri="{FF2B5EF4-FFF2-40B4-BE49-F238E27FC236}">
                <a16:creationId xmlns:a16="http://schemas.microsoft.com/office/drawing/2014/main" id="{1B7E666B-9A15-44B4-A552-8A66F2D5768C}"/>
              </a:ext>
            </a:extLst>
          </p:cNvPr>
          <p:cNvCxnSpPr>
            <a:cxnSpLocks/>
          </p:cNvCxnSpPr>
          <p:nvPr/>
        </p:nvCxnSpPr>
        <p:spPr>
          <a:xfrm flipV="1">
            <a:off x="5718013" y="4110137"/>
            <a:ext cx="0" cy="1718262"/>
          </a:xfrm>
          <a:prstGeom prst="line">
            <a:avLst/>
          </a:prstGeom>
          <a:ln w="9525" cap="flat" cmpd="sng" algn="ctr">
            <a:solidFill>
              <a:srgbClr val="70707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MIO_OBJECT3">
            <a:extLst>
              <a:ext uri="{FF2B5EF4-FFF2-40B4-BE49-F238E27FC236}">
                <a16:creationId xmlns:a16="http://schemas.microsoft.com/office/drawing/2014/main" id="{05E99DF8-3CCE-46F0-B510-11458C18F62F}"/>
              </a:ext>
            </a:extLst>
          </p:cNvPr>
          <p:cNvSpPr/>
          <p:nvPr/>
        </p:nvSpPr>
        <p:spPr>
          <a:xfrm>
            <a:off x="8609533" y="3991463"/>
            <a:ext cx="137676" cy="118662"/>
          </a:xfrm>
          <a:prstGeom prst="diamond">
            <a:avLst/>
          </a:prstGeom>
          <a:solidFill>
            <a:schemeClr val="tx2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indent="164145"/>
            <a:endParaRPr lang="de-DE" sz="800" dirty="0" err="1">
              <a:solidFill>
                <a:schemeClr val="tx1"/>
              </a:solidFill>
            </a:endParaRPr>
          </a:p>
        </p:txBody>
      </p:sp>
      <p:cxnSp>
        <p:nvCxnSpPr>
          <p:cNvPr id="24" name="MIO_LINE">
            <a:extLst>
              <a:ext uri="{FF2B5EF4-FFF2-40B4-BE49-F238E27FC236}">
                <a16:creationId xmlns:a16="http://schemas.microsoft.com/office/drawing/2014/main" id="{9A84EEF7-F928-4CC4-B19F-A07A084A0A55}"/>
              </a:ext>
            </a:extLst>
          </p:cNvPr>
          <p:cNvCxnSpPr>
            <a:cxnSpLocks/>
          </p:cNvCxnSpPr>
          <p:nvPr/>
        </p:nvCxnSpPr>
        <p:spPr>
          <a:xfrm flipV="1">
            <a:off x="8678363" y="4110140"/>
            <a:ext cx="0" cy="1718259"/>
          </a:xfrm>
          <a:prstGeom prst="line">
            <a:avLst/>
          </a:prstGeom>
          <a:ln w="9525" cap="flat" cmpd="sng" algn="ctr">
            <a:solidFill>
              <a:srgbClr val="70707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MIO_TEXTBOX_HEADER">
            <a:extLst>
              <a:ext uri="{FF2B5EF4-FFF2-40B4-BE49-F238E27FC236}">
                <a16:creationId xmlns:a16="http://schemas.microsoft.com/office/drawing/2014/main" id="{A283905A-87B6-4BB4-ACD6-7018F30C0270}"/>
              </a:ext>
            </a:extLst>
          </p:cNvPr>
          <p:cNvSpPr/>
          <p:nvPr/>
        </p:nvSpPr>
        <p:spPr>
          <a:xfrm>
            <a:off x="1380776" y="2003654"/>
            <a:ext cx="2099550" cy="266989"/>
          </a:xfrm>
          <a:prstGeom prst="rect">
            <a:avLst/>
          </a:prstGeom>
          <a:solidFill>
            <a:schemeClr val="bg1"/>
          </a:solidFill>
          <a:effectLst>
            <a:outerShdw dist="19050" dir="5400000" algn="t" rotWithShape="0">
              <a:schemeClr val="accent2"/>
            </a:outerShdw>
          </a:effectLst>
        </p:spPr>
        <p:txBody>
          <a:bodyPr vert="horz" lIns="0" tIns="0" rIns="0" bIns="0" rtlCol="0">
            <a:no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de-DE" sz="1200" b="1" dirty="0">
                <a:solidFill>
                  <a:srgbClr val="93C11C"/>
                </a:solidFill>
                <a:cs typeface="Arial" panose="020B0604020202020204" pitchFamily="34" charset="0"/>
              </a:rPr>
              <a:t>Teileidentifikation</a:t>
            </a:r>
          </a:p>
        </p:txBody>
      </p:sp>
      <p:sp>
        <p:nvSpPr>
          <p:cNvPr id="26" name="MIO_TEXTBOX_HEADER">
            <a:extLst>
              <a:ext uri="{FF2B5EF4-FFF2-40B4-BE49-F238E27FC236}">
                <a16:creationId xmlns:a16="http://schemas.microsoft.com/office/drawing/2014/main" id="{22FAEEB7-A0A9-451B-A9E9-4A98BBC476EE}"/>
              </a:ext>
            </a:extLst>
          </p:cNvPr>
          <p:cNvSpPr/>
          <p:nvPr/>
        </p:nvSpPr>
        <p:spPr>
          <a:xfrm>
            <a:off x="4341124" y="2003654"/>
            <a:ext cx="2099550" cy="266989"/>
          </a:xfrm>
          <a:prstGeom prst="rect">
            <a:avLst/>
          </a:prstGeom>
          <a:solidFill>
            <a:schemeClr val="bg1"/>
          </a:solidFill>
          <a:effectLst>
            <a:outerShdw dist="19050" dir="5400000" algn="t" rotWithShape="0">
              <a:schemeClr val="accent2"/>
            </a:outerShdw>
          </a:effectLst>
        </p:spPr>
        <p:txBody>
          <a:bodyPr vert="horz" lIns="0" tIns="0" rIns="0" bIns="0" rtlCol="0">
            <a:no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de-DE" sz="1200" b="1" dirty="0">
                <a:solidFill>
                  <a:schemeClr val="tx2"/>
                </a:solidFill>
                <a:cs typeface="Arial" panose="020B0604020202020204" pitchFamily="34" charset="0"/>
              </a:rPr>
              <a:t>Datenvorbereitung</a:t>
            </a:r>
          </a:p>
        </p:txBody>
      </p:sp>
      <p:sp>
        <p:nvSpPr>
          <p:cNvPr id="27" name="MIO_TEXTBOX_HEADER">
            <a:extLst>
              <a:ext uri="{FF2B5EF4-FFF2-40B4-BE49-F238E27FC236}">
                <a16:creationId xmlns:a16="http://schemas.microsoft.com/office/drawing/2014/main" id="{B931DE29-1B00-4622-8B62-29CD3897240F}"/>
              </a:ext>
            </a:extLst>
          </p:cNvPr>
          <p:cNvSpPr/>
          <p:nvPr/>
        </p:nvSpPr>
        <p:spPr>
          <a:xfrm>
            <a:off x="7301709" y="2003654"/>
            <a:ext cx="2099550" cy="266989"/>
          </a:xfrm>
          <a:prstGeom prst="rect">
            <a:avLst/>
          </a:prstGeom>
          <a:solidFill>
            <a:schemeClr val="bg1"/>
          </a:solidFill>
          <a:effectLst>
            <a:outerShdw dist="19050" dir="5400000" algn="t" rotWithShape="0">
              <a:schemeClr val="accent2"/>
            </a:outerShdw>
          </a:effectLst>
        </p:spPr>
        <p:txBody>
          <a:bodyPr vert="horz" lIns="0" tIns="0" rIns="0" bIns="0" rtlCol="0">
            <a:no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de-DE" sz="1200" b="1" dirty="0">
                <a:solidFill>
                  <a:schemeClr val="tx2"/>
                </a:solidFill>
                <a:cs typeface="Arial" panose="020B0604020202020204" pitchFamily="34" charset="0"/>
              </a:rPr>
              <a:t>Industrialisierung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endParaRPr lang="de-DE" sz="1200" b="1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sp>
        <p:nvSpPr>
          <p:cNvPr id="28" name="MIO_TEXTBOX_HEADER">
            <a:extLst>
              <a:ext uri="{FF2B5EF4-FFF2-40B4-BE49-F238E27FC236}">
                <a16:creationId xmlns:a16="http://schemas.microsoft.com/office/drawing/2014/main" id="{A56AB005-3836-4A5E-825A-AFFC674B37F4}"/>
              </a:ext>
            </a:extLst>
          </p:cNvPr>
          <p:cNvSpPr/>
          <p:nvPr/>
        </p:nvSpPr>
        <p:spPr>
          <a:xfrm>
            <a:off x="589056" y="5561410"/>
            <a:ext cx="2099550" cy="266989"/>
          </a:xfrm>
          <a:prstGeom prst="rect">
            <a:avLst/>
          </a:prstGeom>
          <a:solidFill>
            <a:schemeClr val="bg1"/>
          </a:solidFill>
          <a:effectLst>
            <a:outerShdw dist="19050" dir="5400000" algn="t" rotWithShape="0">
              <a:schemeClr val="accent2"/>
            </a:outerShdw>
          </a:effectLst>
        </p:spPr>
        <p:txBody>
          <a:bodyPr vert="horz" lIns="0" tIns="0" rIns="0" bIns="0" rtlCol="0">
            <a:no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de-DE" sz="1200" b="1" dirty="0">
                <a:solidFill>
                  <a:srgbClr val="93C11C"/>
                </a:solidFill>
                <a:cs typeface="Arial" panose="020B0604020202020204" pitchFamily="34" charset="0"/>
              </a:rPr>
              <a:t>Bauteilgestaltung / Design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endParaRPr lang="de-DE" sz="1200" b="1" dirty="0">
              <a:solidFill>
                <a:srgbClr val="93C11C"/>
              </a:solidFill>
              <a:cs typeface="Arial" panose="020B0604020202020204" pitchFamily="34" charset="0"/>
            </a:endParaRPr>
          </a:p>
        </p:txBody>
      </p:sp>
      <p:sp>
        <p:nvSpPr>
          <p:cNvPr id="29" name="MIO_TEXTBOX_HEADER">
            <a:extLst>
              <a:ext uri="{FF2B5EF4-FFF2-40B4-BE49-F238E27FC236}">
                <a16:creationId xmlns:a16="http://schemas.microsoft.com/office/drawing/2014/main" id="{6FC80023-214D-4AB6-A8D8-13D312BB9FB4}"/>
              </a:ext>
            </a:extLst>
          </p:cNvPr>
          <p:cNvSpPr/>
          <p:nvPr/>
        </p:nvSpPr>
        <p:spPr>
          <a:xfrm>
            <a:off x="3549404" y="5561410"/>
            <a:ext cx="2099550" cy="266989"/>
          </a:xfrm>
          <a:prstGeom prst="rect">
            <a:avLst/>
          </a:prstGeom>
          <a:solidFill>
            <a:schemeClr val="bg1"/>
          </a:solidFill>
          <a:effectLst>
            <a:outerShdw dist="19050" dir="5400000" algn="t" rotWithShape="0">
              <a:schemeClr val="accent2"/>
            </a:outerShdw>
          </a:effectLst>
        </p:spPr>
        <p:txBody>
          <a:bodyPr vert="horz" lIns="0" tIns="0" rIns="0" bIns="0" rtlCol="0">
            <a:no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de-DE" sz="1200" b="1" dirty="0">
                <a:solidFill>
                  <a:schemeClr val="tx2"/>
                </a:solidFill>
                <a:cs typeface="Arial" panose="020B0604020202020204" pitchFamily="34" charset="0"/>
              </a:rPr>
              <a:t>Prototyp</a:t>
            </a:r>
          </a:p>
        </p:txBody>
      </p:sp>
      <p:sp>
        <p:nvSpPr>
          <p:cNvPr id="30" name="MIO_TEXTBOX_HEADER">
            <a:extLst>
              <a:ext uri="{FF2B5EF4-FFF2-40B4-BE49-F238E27FC236}">
                <a16:creationId xmlns:a16="http://schemas.microsoft.com/office/drawing/2014/main" id="{4BADCCDE-E053-4C5E-BD73-4CCD4FAC2758}"/>
              </a:ext>
            </a:extLst>
          </p:cNvPr>
          <p:cNvSpPr/>
          <p:nvPr/>
        </p:nvSpPr>
        <p:spPr>
          <a:xfrm>
            <a:off x="6509753" y="5561410"/>
            <a:ext cx="2099550" cy="266989"/>
          </a:xfrm>
          <a:prstGeom prst="rect">
            <a:avLst/>
          </a:prstGeom>
          <a:solidFill>
            <a:schemeClr val="bg1"/>
          </a:solidFill>
          <a:effectLst>
            <a:outerShdw dist="19050" dir="5400000" algn="t" rotWithShape="0">
              <a:schemeClr val="accent2"/>
            </a:outerShdw>
          </a:effectLst>
        </p:spPr>
        <p:txBody>
          <a:bodyPr vert="horz" lIns="0" tIns="0" rIns="0" bIns="0" rtlCol="0">
            <a:no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de-DE" sz="1200" b="1" dirty="0">
                <a:solidFill>
                  <a:schemeClr val="tx2"/>
                </a:solidFill>
                <a:cs typeface="Arial" panose="020B0604020202020204" pitchFamily="34" charset="0"/>
              </a:rPr>
              <a:t>Serienfertigung</a:t>
            </a:r>
          </a:p>
        </p:txBody>
      </p:sp>
      <p:sp>
        <p:nvSpPr>
          <p:cNvPr id="37" name="MIO_OBJECT5">
            <a:extLst>
              <a:ext uri="{FF2B5EF4-FFF2-40B4-BE49-F238E27FC236}">
                <a16:creationId xmlns:a16="http://schemas.microsoft.com/office/drawing/2014/main" id="{774A599F-9828-4A99-B5B6-01278F235553}"/>
              </a:ext>
            </a:extLst>
          </p:cNvPr>
          <p:cNvSpPr/>
          <p:nvPr/>
        </p:nvSpPr>
        <p:spPr>
          <a:xfrm>
            <a:off x="6370449" y="3768977"/>
            <a:ext cx="209917" cy="182880"/>
          </a:xfrm>
          <a:prstGeom prst="diamond">
            <a:avLst/>
          </a:prstGeom>
          <a:solidFill>
            <a:srgbClr val="FF0000"/>
          </a:solidFill>
          <a:ln w="12700" cap="flat" cmpd="sng" algn="ctr">
            <a:solidFill>
              <a:srgbClr val="FF000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t" anchorCtr="0"/>
          <a:lstStyle/>
          <a:p>
            <a:pPr indent="164145"/>
            <a:endParaRPr lang="de-DE" sz="1200" dirty="0" err="1">
              <a:solidFill>
                <a:srgbClr val="FF0000"/>
              </a:solidFill>
            </a:endParaRPr>
          </a:p>
        </p:txBody>
      </p:sp>
      <p:sp>
        <p:nvSpPr>
          <p:cNvPr id="38" name="MIO_OBJECT5">
            <a:extLst>
              <a:ext uri="{FF2B5EF4-FFF2-40B4-BE49-F238E27FC236}">
                <a16:creationId xmlns:a16="http://schemas.microsoft.com/office/drawing/2014/main" id="{AA75733A-2216-464D-923B-40AE5CA46EB4}"/>
              </a:ext>
            </a:extLst>
          </p:cNvPr>
          <p:cNvSpPr/>
          <p:nvPr/>
        </p:nvSpPr>
        <p:spPr>
          <a:xfrm>
            <a:off x="3410165" y="3763838"/>
            <a:ext cx="209917" cy="182880"/>
          </a:xfrm>
          <a:prstGeom prst="diamond">
            <a:avLst/>
          </a:prstGeom>
          <a:solidFill>
            <a:srgbClr val="FF0000"/>
          </a:solidFill>
          <a:ln w="12700" cap="flat" cmpd="sng" algn="ctr">
            <a:solidFill>
              <a:srgbClr val="FF000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t" anchorCtr="0"/>
          <a:lstStyle/>
          <a:p>
            <a:pPr indent="164145"/>
            <a:endParaRPr lang="de-DE" sz="1200" dirty="0" err="1">
              <a:solidFill>
                <a:srgbClr val="FF0000"/>
              </a:solidFill>
            </a:endParaRPr>
          </a:p>
        </p:txBody>
      </p:sp>
      <p:sp>
        <p:nvSpPr>
          <p:cNvPr id="39" name="MIO_OBJECT5">
            <a:extLst>
              <a:ext uri="{FF2B5EF4-FFF2-40B4-BE49-F238E27FC236}">
                <a16:creationId xmlns:a16="http://schemas.microsoft.com/office/drawing/2014/main" id="{D13A3861-5243-4183-AB92-4E7C91002C44}"/>
              </a:ext>
            </a:extLst>
          </p:cNvPr>
          <p:cNvSpPr/>
          <p:nvPr/>
        </p:nvSpPr>
        <p:spPr>
          <a:xfrm>
            <a:off x="7854345" y="3743118"/>
            <a:ext cx="209917" cy="182880"/>
          </a:xfrm>
          <a:prstGeom prst="diamond">
            <a:avLst/>
          </a:prstGeom>
          <a:solidFill>
            <a:srgbClr val="FF0000"/>
          </a:solidFill>
          <a:ln w="12700" cap="flat" cmpd="sng" algn="ctr">
            <a:solidFill>
              <a:srgbClr val="FF000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t" anchorCtr="0"/>
          <a:lstStyle/>
          <a:p>
            <a:pPr indent="164145"/>
            <a:endParaRPr lang="de-DE" sz="1200" dirty="0" err="1">
              <a:solidFill>
                <a:srgbClr val="FF0000"/>
              </a:solidFill>
            </a:endParaRPr>
          </a:p>
        </p:txBody>
      </p:sp>
      <p:sp>
        <p:nvSpPr>
          <p:cNvPr id="40" name="MIO_OBJECT5">
            <a:extLst>
              <a:ext uri="{FF2B5EF4-FFF2-40B4-BE49-F238E27FC236}">
                <a16:creationId xmlns:a16="http://schemas.microsoft.com/office/drawing/2014/main" id="{46B478D5-DF6E-4529-B5B3-37CE53386A82}"/>
              </a:ext>
            </a:extLst>
          </p:cNvPr>
          <p:cNvSpPr/>
          <p:nvPr/>
        </p:nvSpPr>
        <p:spPr>
          <a:xfrm>
            <a:off x="1926268" y="3752633"/>
            <a:ext cx="209917" cy="182880"/>
          </a:xfrm>
          <a:prstGeom prst="diamond">
            <a:avLst/>
          </a:prstGeom>
          <a:solidFill>
            <a:srgbClr val="FF0000"/>
          </a:solidFill>
          <a:ln w="12700" cap="flat" cmpd="sng" algn="ctr">
            <a:solidFill>
              <a:srgbClr val="FF000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t" anchorCtr="0"/>
          <a:lstStyle/>
          <a:p>
            <a:pPr indent="164145"/>
            <a:endParaRPr lang="de-DE" sz="1200" dirty="0" err="1">
              <a:solidFill>
                <a:srgbClr val="FF0000"/>
              </a:solidFill>
            </a:endParaRP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FB75685A-7B9E-464E-A29E-651A58CF90CC}"/>
              </a:ext>
            </a:extLst>
          </p:cNvPr>
          <p:cNvSpPr/>
          <p:nvPr/>
        </p:nvSpPr>
        <p:spPr>
          <a:xfrm>
            <a:off x="2031227" y="3303475"/>
            <a:ext cx="1411174" cy="1944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sz="1200" dirty="0">
                <a:solidFill>
                  <a:srgbClr val="FF0000"/>
                </a:solidFill>
              </a:rPr>
              <a:t>Bewertete Idee</a:t>
            </a: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D5908CE9-C192-490D-A331-301D7FD4E25B}"/>
              </a:ext>
            </a:extLst>
          </p:cNvPr>
          <p:cNvSpPr/>
          <p:nvPr/>
        </p:nvSpPr>
        <p:spPr>
          <a:xfrm>
            <a:off x="3512598" y="3306123"/>
            <a:ext cx="1411174" cy="1944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sz="1200" dirty="0">
                <a:solidFill>
                  <a:srgbClr val="FF0000"/>
                </a:solidFill>
              </a:rPr>
              <a:t>Designfreigabe</a:t>
            </a: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21B15436-764A-4402-B001-5CC27165899A}"/>
              </a:ext>
            </a:extLst>
          </p:cNvPr>
          <p:cNvSpPr/>
          <p:nvPr/>
        </p:nvSpPr>
        <p:spPr>
          <a:xfrm>
            <a:off x="6475406" y="3308324"/>
            <a:ext cx="1489581" cy="1944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sz="1200" dirty="0">
                <a:solidFill>
                  <a:srgbClr val="FF0000"/>
                </a:solidFill>
              </a:rPr>
              <a:t>Fertigungsfreigabe</a:t>
            </a: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244B5928-4026-46FD-A833-5D2C835039CD}"/>
              </a:ext>
            </a:extLst>
          </p:cNvPr>
          <p:cNvSpPr/>
          <p:nvPr/>
        </p:nvSpPr>
        <p:spPr>
          <a:xfrm>
            <a:off x="7946610" y="3306590"/>
            <a:ext cx="1411174" cy="1944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sz="1200" dirty="0">
                <a:solidFill>
                  <a:srgbClr val="FF0000"/>
                </a:solidFill>
              </a:rPr>
              <a:t>Serienfreigabe</a:t>
            </a:r>
            <a:endParaRPr lang="de-DE" sz="800" dirty="0">
              <a:solidFill>
                <a:srgbClr val="FF0000"/>
              </a:solidFill>
            </a:endParaRPr>
          </a:p>
        </p:txBody>
      </p:sp>
      <p:sp>
        <p:nvSpPr>
          <p:cNvPr id="45" name="Ellipse 44">
            <a:extLst>
              <a:ext uri="{FF2B5EF4-FFF2-40B4-BE49-F238E27FC236}">
                <a16:creationId xmlns:a16="http://schemas.microsoft.com/office/drawing/2014/main" id="{12C30621-D41B-42D7-9C2D-EF05E53C4410}"/>
              </a:ext>
            </a:extLst>
          </p:cNvPr>
          <p:cNvSpPr>
            <a:spLocks noChangeAspect="1"/>
          </p:cNvSpPr>
          <p:nvPr/>
        </p:nvSpPr>
        <p:spPr>
          <a:xfrm>
            <a:off x="562093" y="3556000"/>
            <a:ext cx="152399" cy="152399"/>
          </a:xfrm>
          <a:prstGeom prst="ellipse">
            <a:avLst/>
          </a:prstGeom>
          <a:solidFill>
            <a:srgbClr val="93C11C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100" b="1" dirty="0"/>
              <a:t>1</a:t>
            </a:r>
          </a:p>
        </p:txBody>
      </p:sp>
      <p:sp>
        <p:nvSpPr>
          <p:cNvPr id="46" name="Ellipse 45">
            <a:extLst>
              <a:ext uri="{FF2B5EF4-FFF2-40B4-BE49-F238E27FC236}">
                <a16:creationId xmlns:a16="http://schemas.microsoft.com/office/drawing/2014/main" id="{EE680C11-CADE-438B-8EA3-EBECEB0D153A}"/>
              </a:ext>
            </a:extLst>
          </p:cNvPr>
          <p:cNvSpPr>
            <a:spLocks noChangeAspect="1"/>
          </p:cNvSpPr>
          <p:nvPr/>
        </p:nvSpPr>
        <p:spPr>
          <a:xfrm>
            <a:off x="2050812" y="3555226"/>
            <a:ext cx="152399" cy="152399"/>
          </a:xfrm>
          <a:prstGeom prst="ellipse">
            <a:avLst/>
          </a:prstGeom>
          <a:solidFill>
            <a:srgbClr val="93C11C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100" b="1" dirty="0"/>
              <a:t>2</a:t>
            </a:r>
          </a:p>
        </p:txBody>
      </p:sp>
      <p:cxnSp>
        <p:nvCxnSpPr>
          <p:cNvPr id="47" name="Verbinder: gewinkelt 46">
            <a:extLst>
              <a:ext uri="{FF2B5EF4-FFF2-40B4-BE49-F238E27FC236}">
                <a16:creationId xmlns:a16="http://schemas.microsoft.com/office/drawing/2014/main" id="{EDBB0E4E-100C-4621-9D4B-8E3B9A3CC7D9}"/>
              </a:ext>
            </a:extLst>
          </p:cNvPr>
          <p:cNvCxnSpPr>
            <a:cxnSpLocks/>
            <a:stCxn id="40" idx="0"/>
          </p:cNvCxnSpPr>
          <p:nvPr/>
        </p:nvCxnSpPr>
        <p:spPr>
          <a:xfrm rot="5400000" flipH="1" flipV="1">
            <a:off x="2522449" y="3021471"/>
            <a:ext cx="239940" cy="1222384"/>
          </a:xfrm>
          <a:prstGeom prst="bentConnector2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Ellipse 47">
            <a:extLst>
              <a:ext uri="{FF2B5EF4-FFF2-40B4-BE49-F238E27FC236}">
                <a16:creationId xmlns:a16="http://schemas.microsoft.com/office/drawing/2014/main" id="{A02A4141-788B-4893-B689-F691618E05AF}"/>
              </a:ext>
            </a:extLst>
          </p:cNvPr>
          <p:cNvSpPr>
            <a:spLocks noChangeAspect="1"/>
          </p:cNvSpPr>
          <p:nvPr/>
        </p:nvSpPr>
        <p:spPr>
          <a:xfrm>
            <a:off x="3538287" y="3552018"/>
            <a:ext cx="152399" cy="152399"/>
          </a:xfrm>
          <a:prstGeom prst="ellipse">
            <a:avLst/>
          </a:prstGeom>
          <a:solidFill>
            <a:schemeClr val="tx2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100" b="1" dirty="0"/>
              <a:t>3</a:t>
            </a:r>
          </a:p>
        </p:txBody>
      </p:sp>
      <p:cxnSp>
        <p:nvCxnSpPr>
          <p:cNvPr id="49" name="Verbinder: gewinkelt 48">
            <a:extLst>
              <a:ext uri="{FF2B5EF4-FFF2-40B4-BE49-F238E27FC236}">
                <a16:creationId xmlns:a16="http://schemas.microsoft.com/office/drawing/2014/main" id="{6ADB5E83-A0AE-424B-850F-1C62B97AA893}"/>
              </a:ext>
            </a:extLst>
          </p:cNvPr>
          <p:cNvCxnSpPr>
            <a:cxnSpLocks/>
            <a:stCxn id="38" idx="0"/>
          </p:cNvCxnSpPr>
          <p:nvPr/>
        </p:nvCxnSpPr>
        <p:spPr>
          <a:xfrm rot="5400000" flipH="1" flipV="1">
            <a:off x="3989238" y="3026450"/>
            <a:ext cx="263274" cy="1211502"/>
          </a:xfrm>
          <a:prstGeom prst="bentConnector2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Ellipse 49">
            <a:extLst>
              <a:ext uri="{FF2B5EF4-FFF2-40B4-BE49-F238E27FC236}">
                <a16:creationId xmlns:a16="http://schemas.microsoft.com/office/drawing/2014/main" id="{686B9958-5170-49EF-B9D6-EB3E8FF9653F}"/>
              </a:ext>
            </a:extLst>
          </p:cNvPr>
          <p:cNvSpPr>
            <a:spLocks noChangeAspect="1"/>
          </p:cNvSpPr>
          <p:nvPr/>
        </p:nvSpPr>
        <p:spPr>
          <a:xfrm>
            <a:off x="5018460" y="3552018"/>
            <a:ext cx="152399" cy="152399"/>
          </a:xfrm>
          <a:prstGeom prst="ellipse">
            <a:avLst/>
          </a:prstGeom>
          <a:solidFill>
            <a:schemeClr val="tx2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100" b="1" dirty="0"/>
              <a:t>4</a:t>
            </a:r>
          </a:p>
        </p:txBody>
      </p:sp>
      <p:sp>
        <p:nvSpPr>
          <p:cNvPr id="51" name="Ellipse 50">
            <a:extLst>
              <a:ext uri="{FF2B5EF4-FFF2-40B4-BE49-F238E27FC236}">
                <a16:creationId xmlns:a16="http://schemas.microsoft.com/office/drawing/2014/main" id="{CB2D604D-4D26-44AF-9D8F-EF4335689E66}"/>
              </a:ext>
            </a:extLst>
          </p:cNvPr>
          <p:cNvSpPr>
            <a:spLocks noChangeAspect="1"/>
          </p:cNvSpPr>
          <p:nvPr/>
        </p:nvSpPr>
        <p:spPr>
          <a:xfrm>
            <a:off x="6498636" y="3551836"/>
            <a:ext cx="152399" cy="152399"/>
          </a:xfrm>
          <a:prstGeom prst="ellipse">
            <a:avLst/>
          </a:prstGeom>
          <a:solidFill>
            <a:schemeClr val="tx2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100" b="1" dirty="0"/>
              <a:t>5</a:t>
            </a:r>
          </a:p>
        </p:txBody>
      </p:sp>
      <p:cxnSp>
        <p:nvCxnSpPr>
          <p:cNvPr id="52" name="Verbinder: gewinkelt 51">
            <a:extLst>
              <a:ext uri="{FF2B5EF4-FFF2-40B4-BE49-F238E27FC236}">
                <a16:creationId xmlns:a16="http://schemas.microsoft.com/office/drawing/2014/main" id="{A745A8EE-AAA5-4D75-9CD4-7650FD90678E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6953072" y="3019460"/>
            <a:ext cx="261303" cy="1216630"/>
          </a:xfrm>
          <a:prstGeom prst="bentConnector2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Ellipse 52">
            <a:extLst>
              <a:ext uri="{FF2B5EF4-FFF2-40B4-BE49-F238E27FC236}">
                <a16:creationId xmlns:a16="http://schemas.microsoft.com/office/drawing/2014/main" id="{B0C17F69-D22C-44F6-8AAE-2C7231BD9052}"/>
              </a:ext>
            </a:extLst>
          </p:cNvPr>
          <p:cNvSpPr>
            <a:spLocks noChangeAspect="1"/>
          </p:cNvSpPr>
          <p:nvPr/>
        </p:nvSpPr>
        <p:spPr>
          <a:xfrm>
            <a:off x="7976255" y="3552018"/>
            <a:ext cx="152399" cy="152399"/>
          </a:xfrm>
          <a:prstGeom prst="ellipse">
            <a:avLst/>
          </a:prstGeom>
          <a:solidFill>
            <a:schemeClr val="tx2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100" b="1" dirty="0"/>
              <a:t>6</a:t>
            </a:r>
          </a:p>
        </p:txBody>
      </p:sp>
      <p:cxnSp>
        <p:nvCxnSpPr>
          <p:cNvPr id="54" name="Verbinder: gewinkelt 53">
            <a:extLst>
              <a:ext uri="{FF2B5EF4-FFF2-40B4-BE49-F238E27FC236}">
                <a16:creationId xmlns:a16="http://schemas.microsoft.com/office/drawing/2014/main" id="{623ECF28-745C-4DCF-A836-95C5CB85974D}"/>
              </a:ext>
            </a:extLst>
          </p:cNvPr>
          <p:cNvCxnSpPr>
            <a:cxnSpLocks/>
            <a:stCxn id="39" idx="0"/>
          </p:cNvCxnSpPr>
          <p:nvPr/>
        </p:nvCxnSpPr>
        <p:spPr>
          <a:xfrm rot="5400000" flipH="1" flipV="1">
            <a:off x="8441789" y="3012873"/>
            <a:ext cx="247760" cy="1212730"/>
          </a:xfrm>
          <a:prstGeom prst="bentConnector2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MIO_OBJECT5">
            <a:extLst>
              <a:ext uri="{FF2B5EF4-FFF2-40B4-BE49-F238E27FC236}">
                <a16:creationId xmlns:a16="http://schemas.microsoft.com/office/drawing/2014/main" id="{291C908F-7C5A-4E96-BDD8-BBC9161804CC}"/>
              </a:ext>
            </a:extLst>
          </p:cNvPr>
          <p:cNvSpPr/>
          <p:nvPr/>
        </p:nvSpPr>
        <p:spPr>
          <a:xfrm>
            <a:off x="4873655" y="3748394"/>
            <a:ext cx="209917" cy="182880"/>
          </a:xfrm>
          <a:prstGeom prst="diamond">
            <a:avLst/>
          </a:prstGeom>
          <a:solidFill>
            <a:srgbClr val="FF0000"/>
          </a:solidFill>
          <a:ln w="12700" cap="flat" cmpd="sng" algn="ctr">
            <a:solidFill>
              <a:srgbClr val="FF000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t" anchorCtr="0"/>
          <a:lstStyle/>
          <a:p>
            <a:pPr indent="164145"/>
            <a:endParaRPr lang="de-DE" sz="1200" dirty="0" err="1">
              <a:solidFill>
                <a:srgbClr val="FF0000"/>
              </a:solidFill>
            </a:endParaRP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63F932E0-BFFB-4C35-B416-F8B4295AF570}"/>
              </a:ext>
            </a:extLst>
          </p:cNvPr>
          <p:cNvSpPr/>
          <p:nvPr/>
        </p:nvSpPr>
        <p:spPr>
          <a:xfrm>
            <a:off x="4777378" y="3249645"/>
            <a:ext cx="1781864" cy="31422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rtlCol="0" anchor="ctr"/>
          <a:lstStyle/>
          <a:p>
            <a:pPr algn="ctr"/>
            <a:r>
              <a:rPr lang="de-DE" sz="1200" dirty="0">
                <a:solidFill>
                  <a:srgbClr val="FF0000"/>
                </a:solidFill>
              </a:rPr>
              <a:t>Umsetzungsfreigabe</a:t>
            </a:r>
          </a:p>
        </p:txBody>
      </p:sp>
      <p:cxnSp>
        <p:nvCxnSpPr>
          <p:cNvPr id="57" name="Verbinder: gewinkelt 56">
            <a:extLst>
              <a:ext uri="{FF2B5EF4-FFF2-40B4-BE49-F238E27FC236}">
                <a16:creationId xmlns:a16="http://schemas.microsoft.com/office/drawing/2014/main" id="{E997F16C-E03E-477E-9905-DEF9213B2D6E}"/>
              </a:ext>
            </a:extLst>
          </p:cNvPr>
          <p:cNvCxnSpPr>
            <a:cxnSpLocks/>
            <a:stCxn id="55" idx="0"/>
          </p:cNvCxnSpPr>
          <p:nvPr/>
        </p:nvCxnSpPr>
        <p:spPr>
          <a:xfrm rot="5400000" flipH="1" flipV="1">
            <a:off x="5466384" y="3017932"/>
            <a:ext cx="242692" cy="1218232"/>
          </a:xfrm>
          <a:prstGeom prst="bentConnector2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hteck 57">
            <a:extLst>
              <a:ext uri="{FF2B5EF4-FFF2-40B4-BE49-F238E27FC236}">
                <a16:creationId xmlns:a16="http://schemas.microsoft.com/office/drawing/2014/main" id="{0EA13CA5-2355-4A51-BD59-11275DED386A}"/>
              </a:ext>
            </a:extLst>
          </p:cNvPr>
          <p:cNvSpPr/>
          <p:nvPr/>
        </p:nvSpPr>
        <p:spPr>
          <a:xfrm>
            <a:off x="10125771" y="3377716"/>
            <a:ext cx="1319151" cy="327858"/>
          </a:xfrm>
          <a:prstGeom prst="rect">
            <a:avLst/>
          </a:prstGeom>
          <a:solidFill>
            <a:srgbClr val="93C1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sz="1200" b="1" dirty="0"/>
              <a:t>AM-Consulting</a:t>
            </a: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A61D277E-BDB7-43FA-8687-3CD8D2ECF4FD}"/>
              </a:ext>
            </a:extLst>
          </p:cNvPr>
          <p:cNvSpPr/>
          <p:nvPr/>
        </p:nvSpPr>
        <p:spPr>
          <a:xfrm>
            <a:off x="10125771" y="3919167"/>
            <a:ext cx="1319151" cy="32785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sz="1200" b="1" dirty="0"/>
              <a:t>Inhouse Fertigung</a:t>
            </a:r>
          </a:p>
        </p:txBody>
      </p:sp>
      <p:sp>
        <p:nvSpPr>
          <p:cNvPr id="60" name="Textfeld 59">
            <a:extLst>
              <a:ext uri="{FF2B5EF4-FFF2-40B4-BE49-F238E27FC236}">
                <a16:creationId xmlns:a16="http://schemas.microsoft.com/office/drawing/2014/main" id="{A535B67C-222B-46FA-9B3C-0BD77D09BA43}"/>
              </a:ext>
            </a:extLst>
          </p:cNvPr>
          <p:cNvSpPr txBox="1"/>
          <p:nvPr/>
        </p:nvSpPr>
        <p:spPr>
          <a:xfrm>
            <a:off x="10093177" y="3007771"/>
            <a:ext cx="179878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200" b="1" u="sng" dirty="0"/>
              <a:t>Prozessverantwortlich</a:t>
            </a:r>
          </a:p>
        </p:txBody>
      </p:sp>
      <p:grpSp>
        <p:nvGrpSpPr>
          <p:cNvPr id="61" name="Gruppieren 60">
            <a:extLst>
              <a:ext uri="{FF2B5EF4-FFF2-40B4-BE49-F238E27FC236}">
                <a16:creationId xmlns:a16="http://schemas.microsoft.com/office/drawing/2014/main" id="{A39EA3A6-D4F0-45A8-8F1F-8EB2C3E2CDEF}"/>
              </a:ext>
            </a:extLst>
          </p:cNvPr>
          <p:cNvGrpSpPr>
            <a:grpSpLocks noChangeAspect="1"/>
          </p:cNvGrpSpPr>
          <p:nvPr/>
        </p:nvGrpSpPr>
        <p:grpSpPr>
          <a:xfrm>
            <a:off x="1895789" y="2291690"/>
            <a:ext cx="919855" cy="1068995"/>
            <a:chOff x="531227" y="3404660"/>
            <a:chExt cx="1278522" cy="1485813"/>
          </a:xfrm>
        </p:grpSpPr>
        <p:pic>
          <p:nvPicPr>
            <p:cNvPr id="62" name="Grafik 61">
              <a:extLst>
                <a:ext uri="{FF2B5EF4-FFF2-40B4-BE49-F238E27FC236}">
                  <a16:creationId xmlns:a16="http://schemas.microsoft.com/office/drawing/2014/main" id="{4A80EE51-7AC0-4EA1-812D-D526F144C22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201508" y="3404660"/>
              <a:ext cx="608241" cy="1485813"/>
            </a:xfrm>
            <a:prstGeom prst="rect">
              <a:avLst/>
            </a:prstGeom>
          </p:spPr>
        </p:pic>
        <p:pic>
          <p:nvPicPr>
            <p:cNvPr id="63" name="Grafik 62">
              <a:extLst>
                <a:ext uri="{FF2B5EF4-FFF2-40B4-BE49-F238E27FC236}">
                  <a16:creationId xmlns:a16="http://schemas.microsoft.com/office/drawing/2014/main" id="{7A3364CA-FFB7-4F33-B17C-9FD2B025B2B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31227" y="3447679"/>
              <a:ext cx="670282" cy="1440000"/>
            </a:xfrm>
            <a:prstGeom prst="rect">
              <a:avLst/>
            </a:prstGeom>
          </p:spPr>
        </p:pic>
        <p:cxnSp>
          <p:nvCxnSpPr>
            <p:cNvPr id="64" name="Gerader Verbinder 63">
              <a:extLst>
                <a:ext uri="{FF2B5EF4-FFF2-40B4-BE49-F238E27FC236}">
                  <a16:creationId xmlns:a16="http://schemas.microsoft.com/office/drawing/2014/main" id="{6A2F7468-5544-4EC3-A640-00B5C774B3DA}"/>
                </a:ext>
              </a:extLst>
            </p:cNvPr>
            <p:cNvCxnSpPr/>
            <p:nvPr/>
          </p:nvCxnSpPr>
          <p:spPr>
            <a:xfrm>
              <a:off x="1210350" y="3553777"/>
              <a:ext cx="0" cy="118800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3">
              <a:schemeClr val="accent5"/>
            </a:lnRef>
            <a:fillRef idx="0">
              <a:schemeClr val="accent5"/>
            </a:fillRef>
            <a:effectRef idx="2">
              <a:schemeClr val="accent5"/>
            </a:effectRef>
            <a:fontRef idx="minor">
              <a:schemeClr val="tx1"/>
            </a:fontRef>
          </p:style>
        </p:cxnSp>
      </p:grpSp>
      <p:pic>
        <p:nvPicPr>
          <p:cNvPr id="65" name="Grafik 64">
            <a:extLst>
              <a:ext uri="{FF2B5EF4-FFF2-40B4-BE49-F238E27FC236}">
                <a16:creationId xmlns:a16="http://schemas.microsoft.com/office/drawing/2014/main" id="{4D33753B-F9E8-4F0A-8A93-A2E77FED1A8D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50419" y="4520378"/>
            <a:ext cx="760561" cy="954331"/>
          </a:xfrm>
          <a:prstGeom prst="rect">
            <a:avLst/>
          </a:prstGeom>
        </p:spPr>
      </p:pic>
      <p:pic>
        <p:nvPicPr>
          <p:cNvPr id="66" name="Grafik 65">
            <a:extLst>
              <a:ext uri="{FF2B5EF4-FFF2-40B4-BE49-F238E27FC236}">
                <a16:creationId xmlns:a16="http://schemas.microsoft.com/office/drawing/2014/main" id="{A9CEB184-885C-4873-90DB-5C8FF47AEEF1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79395" y="2398819"/>
            <a:ext cx="986461" cy="842814"/>
          </a:xfrm>
          <a:prstGeom prst="rect">
            <a:avLst/>
          </a:prstGeom>
        </p:spPr>
      </p:pic>
      <p:pic>
        <p:nvPicPr>
          <p:cNvPr id="68" name="Grafik 67">
            <a:extLst>
              <a:ext uri="{FF2B5EF4-FFF2-40B4-BE49-F238E27FC236}">
                <a16:creationId xmlns:a16="http://schemas.microsoft.com/office/drawing/2014/main" id="{CD105A2F-93F5-49D2-85C4-A70F4A9FBD75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4003557" y="4560831"/>
            <a:ext cx="1089168" cy="816877"/>
          </a:xfrm>
          <a:prstGeom prst="rect">
            <a:avLst/>
          </a:prstGeom>
        </p:spPr>
      </p:pic>
      <p:pic>
        <p:nvPicPr>
          <p:cNvPr id="69" name="Grafik 68">
            <a:extLst>
              <a:ext uri="{FF2B5EF4-FFF2-40B4-BE49-F238E27FC236}">
                <a16:creationId xmlns:a16="http://schemas.microsoft.com/office/drawing/2014/main" id="{195DF1CF-C308-4D05-B9D2-0E9A5D31572A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2449"/>
          <a:stretch/>
        </p:blipFill>
        <p:spPr>
          <a:xfrm>
            <a:off x="7745618" y="2396567"/>
            <a:ext cx="1216567" cy="842814"/>
          </a:xfrm>
          <a:prstGeom prst="rect">
            <a:avLst/>
          </a:prstGeom>
        </p:spPr>
      </p:pic>
      <p:pic>
        <p:nvPicPr>
          <p:cNvPr id="70" name="Inhaltsplatzhalter 17">
            <a:extLst>
              <a:ext uri="{FF2B5EF4-FFF2-40B4-BE49-F238E27FC236}">
                <a16:creationId xmlns:a16="http://schemas.microsoft.com/office/drawing/2014/main" id="{E0BC3664-5912-416D-A9C2-18A2A2DF2147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93817" y="4551025"/>
            <a:ext cx="1123752" cy="84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314098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" name="Gruppieren 31">
            <a:extLst>
              <a:ext uri="{FF2B5EF4-FFF2-40B4-BE49-F238E27FC236}">
                <a16:creationId xmlns:a16="http://schemas.microsoft.com/office/drawing/2014/main" id="{C59C3DFA-7396-4532-888B-E89F842DA17A}"/>
              </a:ext>
            </a:extLst>
          </p:cNvPr>
          <p:cNvGrpSpPr/>
          <p:nvPr/>
        </p:nvGrpSpPr>
        <p:grpSpPr>
          <a:xfrm>
            <a:off x="1429709" y="2826650"/>
            <a:ext cx="2589445" cy="2795294"/>
            <a:chOff x="1544930" y="2012011"/>
            <a:chExt cx="2743200" cy="3639735"/>
          </a:xfrm>
          <a:solidFill>
            <a:schemeClr val="bg1"/>
          </a:solidFill>
          <a:effectLst>
            <a:outerShdw blurRad="50800" dist="38100" dir="2700000" sx="101000" sy="101000" algn="tl" rotWithShape="0">
              <a:schemeClr val="tx1">
                <a:alpha val="60000"/>
              </a:schemeClr>
            </a:outerShdw>
          </a:effectLst>
        </p:grpSpPr>
        <p:sp>
          <p:nvSpPr>
            <p:cNvPr id="33" name="Rechteck: eine Ecke abgeschnitten 32">
              <a:extLst>
                <a:ext uri="{FF2B5EF4-FFF2-40B4-BE49-F238E27FC236}">
                  <a16:creationId xmlns:a16="http://schemas.microsoft.com/office/drawing/2014/main" id="{64B2C1B4-DE53-4EAF-B23E-E082AC00D46D}"/>
                </a:ext>
              </a:extLst>
            </p:cNvPr>
            <p:cNvSpPr/>
            <p:nvPr/>
          </p:nvSpPr>
          <p:spPr>
            <a:xfrm>
              <a:off x="1544930" y="2012011"/>
              <a:ext cx="2743200" cy="3639735"/>
            </a:xfrm>
            <a:prstGeom prst="snip1Rect">
              <a:avLst/>
            </a:prstGeom>
            <a:grp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 err="1"/>
            </a:p>
          </p:txBody>
        </p:sp>
        <p:sp>
          <p:nvSpPr>
            <p:cNvPr id="34" name="Gleichschenkliges Dreieck 33">
              <a:extLst>
                <a:ext uri="{FF2B5EF4-FFF2-40B4-BE49-F238E27FC236}">
                  <a16:creationId xmlns:a16="http://schemas.microsoft.com/office/drawing/2014/main" id="{63E8CB32-D4BA-4ADC-A271-410ECE0FEFF9}"/>
                </a:ext>
              </a:extLst>
            </p:cNvPr>
            <p:cNvSpPr/>
            <p:nvPr/>
          </p:nvSpPr>
          <p:spPr>
            <a:xfrm rot="13505979">
              <a:off x="3603918" y="2207884"/>
              <a:ext cx="643778" cy="419827"/>
            </a:xfrm>
            <a:prstGeom prst="triangle">
              <a:avLst/>
            </a:prstGeom>
            <a:grp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 err="1"/>
            </a:p>
          </p:txBody>
        </p:sp>
      </p:grpSp>
      <p:grpSp>
        <p:nvGrpSpPr>
          <p:cNvPr id="28" name="Gruppieren 27">
            <a:extLst>
              <a:ext uri="{FF2B5EF4-FFF2-40B4-BE49-F238E27FC236}">
                <a16:creationId xmlns:a16="http://schemas.microsoft.com/office/drawing/2014/main" id="{1F46B97D-79D8-499A-A388-A41761A3066A}"/>
              </a:ext>
            </a:extLst>
          </p:cNvPr>
          <p:cNvGrpSpPr/>
          <p:nvPr/>
        </p:nvGrpSpPr>
        <p:grpSpPr>
          <a:xfrm>
            <a:off x="1049355" y="2421258"/>
            <a:ext cx="2692411" cy="3013825"/>
            <a:chOff x="1544930" y="2012011"/>
            <a:chExt cx="2743200" cy="3639735"/>
          </a:xfrm>
          <a:solidFill>
            <a:schemeClr val="bg1"/>
          </a:solidFill>
          <a:effectLst>
            <a:outerShdw blurRad="50800" dist="38100" dir="2700000" sx="101000" sy="101000" algn="tl" rotWithShape="0">
              <a:schemeClr val="tx1">
                <a:alpha val="60000"/>
              </a:schemeClr>
            </a:outerShdw>
          </a:effectLst>
        </p:grpSpPr>
        <p:sp>
          <p:nvSpPr>
            <p:cNvPr id="13" name="Rechteck: eine Ecke abgeschnitten 12">
              <a:extLst>
                <a:ext uri="{FF2B5EF4-FFF2-40B4-BE49-F238E27FC236}">
                  <a16:creationId xmlns:a16="http://schemas.microsoft.com/office/drawing/2014/main" id="{108F0721-CCA4-49A9-AF4F-9914A456444F}"/>
                </a:ext>
              </a:extLst>
            </p:cNvPr>
            <p:cNvSpPr/>
            <p:nvPr/>
          </p:nvSpPr>
          <p:spPr>
            <a:xfrm>
              <a:off x="1544930" y="2012011"/>
              <a:ext cx="2743200" cy="3639735"/>
            </a:xfrm>
            <a:prstGeom prst="snip1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 err="1"/>
            </a:p>
          </p:txBody>
        </p:sp>
        <p:sp>
          <p:nvSpPr>
            <p:cNvPr id="14" name="Gleichschenkliges Dreieck 13">
              <a:extLst>
                <a:ext uri="{FF2B5EF4-FFF2-40B4-BE49-F238E27FC236}">
                  <a16:creationId xmlns:a16="http://schemas.microsoft.com/office/drawing/2014/main" id="{D05679B5-797F-4DDF-89DF-D221DBB47773}"/>
                </a:ext>
              </a:extLst>
            </p:cNvPr>
            <p:cNvSpPr/>
            <p:nvPr/>
          </p:nvSpPr>
          <p:spPr>
            <a:xfrm rot="13505979">
              <a:off x="3590339" y="2179609"/>
              <a:ext cx="643778" cy="419827"/>
            </a:xfrm>
            <a:prstGeom prst="triangle">
              <a:avLst/>
            </a:prstGeom>
            <a:grp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 err="1"/>
            </a:p>
          </p:txBody>
        </p: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4DB90F4D-4BC0-4EEB-8A61-2A9A6224ED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t>AM-gerechte Bauteilgestaltung</a:t>
            </a:r>
          </a:p>
        </p:txBody>
      </p:sp>
      <p:sp>
        <p:nvSpPr>
          <p:cNvPr id="11" name="Inhaltsplatzhalter 10">
            <a:extLst>
              <a:ext uri="{FF2B5EF4-FFF2-40B4-BE49-F238E27FC236}">
                <a16:creationId xmlns:a16="http://schemas.microsoft.com/office/drawing/2014/main" id="{827FE5C6-7B5D-B2A2-10B3-96E4ED2534C1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55BCC999-A556-6F6D-5449-70D55F141FF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Leitfaden für die Entwicklung von Additive Manufacturing Bauteilen</a:t>
            </a:r>
          </a:p>
          <a:p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D07791F-B210-F309-48E0-FFE4D60F1EB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D57957C-F0F3-7842-B0E2-B762F92D6487}" type="slidenum">
              <a:rPr lang="de-DE" b="0" smtClean="0">
                <a:solidFill>
                  <a:schemeClr val="tx1"/>
                </a:solidFill>
              </a:rPr>
              <a:pPr/>
              <a:t>9</a:t>
            </a:fld>
            <a:r>
              <a:rPr lang="de-DE">
                <a:solidFill>
                  <a:schemeClr val="accent1"/>
                </a:solidFill>
              </a:rPr>
              <a:t>  </a:t>
            </a:r>
            <a:r>
              <a:rPr lang="de-DE" b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A55DD27-3CF1-6D15-57CB-14F8C3AD36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Thomas Kieferle | Innovationswerkstatt MT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B2F04FB8-9337-3E82-B0AA-ABC1678487C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AB19A4FC-76FE-4B52-A6BC-C4A9405F94A9}" type="datetime1">
              <a:rPr lang="de-DE" smtClean="0"/>
              <a:pPr/>
              <a:t>21.04.2023</a:t>
            </a:fld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1C0554C-8E74-48FB-80AF-79455F2815B8}"/>
              </a:ext>
            </a:extLst>
          </p:cNvPr>
          <p:cNvSpPr>
            <a:spLocks noGrp="1"/>
          </p:cNvSpPr>
          <p:nvPr/>
        </p:nvSpPr>
        <p:spPr>
          <a:xfrm>
            <a:off x="515938" y="981980"/>
            <a:ext cx="10953379" cy="329356"/>
          </a:xfrm>
          <a:prstGeom prst="rect">
            <a:avLst/>
          </a:prstGeom>
        </p:spPr>
        <p:txBody>
          <a:bodyPr/>
          <a:lstStyle>
            <a:lvl1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de-DE" sz="2800" b="0" kern="1200" smtClean="0">
                <a:solidFill>
                  <a:schemeClr val="tx2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  <a:lvl2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None/>
              <a:defRPr lang="de-DE" sz="1600" b="0" i="0" kern="12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21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lang="de-DE" sz="1600" b="0" i="0" kern="12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43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lang="de-DE" sz="1600" b="0" i="0" kern="12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648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lang="de-DE"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64000" indent="-216000" algn="l" defTabSz="914355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 lang="de-DE" sz="1600" b="0" i="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0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9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1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/>
          </a:p>
        </p:txBody>
      </p:sp>
      <p:grpSp>
        <p:nvGrpSpPr>
          <p:cNvPr id="121" name="Gruppieren 120">
            <a:extLst>
              <a:ext uri="{FF2B5EF4-FFF2-40B4-BE49-F238E27FC236}">
                <a16:creationId xmlns:a16="http://schemas.microsoft.com/office/drawing/2014/main" id="{4AED8E7D-1BDB-43CF-A1AA-41D864FD811D}"/>
              </a:ext>
            </a:extLst>
          </p:cNvPr>
          <p:cNvGrpSpPr/>
          <p:nvPr/>
        </p:nvGrpSpPr>
        <p:grpSpPr>
          <a:xfrm>
            <a:off x="780973" y="2053250"/>
            <a:ext cx="2692411" cy="3091212"/>
            <a:chOff x="785973" y="1485040"/>
            <a:chExt cx="2743200" cy="3639735"/>
          </a:xfrm>
        </p:grpSpPr>
        <p:grpSp>
          <p:nvGrpSpPr>
            <p:cNvPr id="29" name="Gruppieren 28">
              <a:extLst>
                <a:ext uri="{FF2B5EF4-FFF2-40B4-BE49-F238E27FC236}">
                  <a16:creationId xmlns:a16="http://schemas.microsoft.com/office/drawing/2014/main" id="{6714E4F5-8DAB-4628-A0D6-D553B717BB5A}"/>
                </a:ext>
              </a:extLst>
            </p:cNvPr>
            <p:cNvGrpSpPr/>
            <p:nvPr/>
          </p:nvGrpSpPr>
          <p:grpSpPr>
            <a:xfrm>
              <a:off x="785973" y="1485040"/>
              <a:ext cx="2743200" cy="3639735"/>
              <a:chOff x="1544930" y="2012011"/>
              <a:chExt cx="2743200" cy="3639735"/>
            </a:xfrm>
            <a:solidFill>
              <a:schemeClr val="bg1"/>
            </a:solidFill>
            <a:effectLst>
              <a:outerShdw blurRad="50800" dist="38100" dir="2700000" sx="101000" sy="101000" algn="tl" rotWithShape="0">
                <a:schemeClr val="tx1">
                  <a:alpha val="40000"/>
                </a:schemeClr>
              </a:outerShdw>
            </a:effectLst>
          </p:grpSpPr>
          <p:sp>
            <p:nvSpPr>
              <p:cNvPr id="30" name="Rechteck: eine Ecke abgeschnitten 29">
                <a:extLst>
                  <a:ext uri="{FF2B5EF4-FFF2-40B4-BE49-F238E27FC236}">
                    <a16:creationId xmlns:a16="http://schemas.microsoft.com/office/drawing/2014/main" id="{11EBE240-CA91-414A-A144-7CC9652AE46C}"/>
                  </a:ext>
                </a:extLst>
              </p:cNvPr>
              <p:cNvSpPr/>
              <p:nvPr/>
            </p:nvSpPr>
            <p:spPr>
              <a:xfrm>
                <a:off x="1544930" y="2012011"/>
                <a:ext cx="2743200" cy="3639735"/>
              </a:xfrm>
              <a:prstGeom prst="snip1Rect">
                <a:avLst/>
              </a:prstGeom>
              <a:grp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algn="ctr"/>
                <a:endParaRPr lang="de-DE" dirty="0" err="1"/>
              </a:p>
            </p:txBody>
          </p:sp>
          <p:sp>
            <p:nvSpPr>
              <p:cNvPr id="31" name="Gleichschenkliges Dreieck 30">
                <a:extLst>
                  <a:ext uri="{FF2B5EF4-FFF2-40B4-BE49-F238E27FC236}">
                    <a16:creationId xmlns:a16="http://schemas.microsoft.com/office/drawing/2014/main" id="{E31488F8-21A4-4B81-86FB-A8528E675443}"/>
                  </a:ext>
                </a:extLst>
              </p:cNvPr>
              <p:cNvSpPr/>
              <p:nvPr/>
            </p:nvSpPr>
            <p:spPr>
              <a:xfrm rot="13505979">
                <a:off x="3590339" y="2179609"/>
                <a:ext cx="643778" cy="419827"/>
              </a:xfrm>
              <a:prstGeom prst="triangle">
                <a:avLst/>
              </a:prstGeom>
              <a:grp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algn="ctr"/>
                <a:endParaRPr lang="de-DE" dirty="0" err="1"/>
              </a:p>
            </p:txBody>
          </p:sp>
        </p:grpSp>
        <p:cxnSp>
          <p:nvCxnSpPr>
            <p:cNvPr id="16" name="Gerader Verbinder 15">
              <a:extLst>
                <a:ext uri="{FF2B5EF4-FFF2-40B4-BE49-F238E27FC236}">
                  <a16:creationId xmlns:a16="http://schemas.microsoft.com/office/drawing/2014/main" id="{566D85E7-1212-481C-84C5-6069298187B5}"/>
                </a:ext>
              </a:extLst>
            </p:cNvPr>
            <p:cNvCxnSpPr/>
            <p:nvPr/>
          </p:nvCxnSpPr>
          <p:spPr>
            <a:xfrm>
              <a:off x="1050609" y="2256231"/>
              <a:ext cx="1402672" cy="0"/>
            </a:xfrm>
            <a:prstGeom prst="line">
              <a:avLst/>
            </a:prstGeom>
            <a:ln w="19050">
              <a:solidFill>
                <a:schemeClr val="tx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r Verbinder 16">
              <a:extLst>
                <a:ext uri="{FF2B5EF4-FFF2-40B4-BE49-F238E27FC236}">
                  <a16:creationId xmlns:a16="http://schemas.microsoft.com/office/drawing/2014/main" id="{0027D6CC-45FC-4A74-B88C-F77537C25C96}"/>
                </a:ext>
              </a:extLst>
            </p:cNvPr>
            <p:cNvCxnSpPr/>
            <p:nvPr/>
          </p:nvCxnSpPr>
          <p:spPr>
            <a:xfrm>
              <a:off x="1050609" y="2416029"/>
              <a:ext cx="1402672" cy="0"/>
            </a:xfrm>
            <a:prstGeom prst="line">
              <a:avLst/>
            </a:prstGeom>
            <a:ln w="19050">
              <a:solidFill>
                <a:schemeClr val="tx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r Verbinder 17">
              <a:extLst>
                <a:ext uri="{FF2B5EF4-FFF2-40B4-BE49-F238E27FC236}">
                  <a16:creationId xmlns:a16="http://schemas.microsoft.com/office/drawing/2014/main" id="{3A6C194C-E514-4F83-A1AA-AA6FE8DAA90B}"/>
                </a:ext>
              </a:extLst>
            </p:cNvPr>
            <p:cNvCxnSpPr/>
            <p:nvPr/>
          </p:nvCxnSpPr>
          <p:spPr>
            <a:xfrm>
              <a:off x="1050609" y="2611338"/>
              <a:ext cx="1402672" cy="0"/>
            </a:xfrm>
            <a:prstGeom prst="line">
              <a:avLst/>
            </a:prstGeom>
            <a:ln w="19050">
              <a:solidFill>
                <a:schemeClr val="tx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BAA0EB5E-B19D-4B0F-A1B4-3C6595187FEC}"/>
                </a:ext>
              </a:extLst>
            </p:cNvPr>
            <p:cNvCxnSpPr/>
            <p:nvPr/>
          </p:nvCxnSpPr>
          <p:spPr>
            <a:xfrm>
              <a:off x="1050609" y="2799988"/>
              <a:ext cx="1402672" cy="0"/>
            </a:xfrm>
            <a:prstGeom prst="line">
              <a:avLst/>
            </a:prstGeom>
            <a:ln w="19050">
              <a:solidFill>
                <a:schemeClr val="tx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86AE4D9B-1CEB-436F-9671-7417586CCB05}"/>
                </a:ext>
              </a:extLst>
            </p:cNvPr>
            <p:cNvCxnSpPr/>
            <p:nvPr/>
          </p:nvCxnSpPr>
          <p:spPr>
            <a:xfrm>
              <a:off x="1050609" y="2959786"/>
              <a:ext cx="1402672" cy="0"/>
            </a:xfrm>
            <a:prstGeom prst="line">
              <a:avLst/>
            </a:prstGeom>
            <a:ln w="19050">
              <a:solidFill>
                <a:schemeClr val="tx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r Verbinder 20">
              <a:extLst>
                <a:ext uri="{FF2B5EF4-FFF2-40B4-BE49-F238E27FC236}">
                  <a16:creationId xmlns:a16="http://schemas.microsoft.com/office/drawing/2014/main" id="{C3947932-D5BC-4BFF-B2C9-EE9D803813C8}"/>
                </a:ext>
              </a:extLst>
            </p:cNvPr>
            <p:cNvCxnSpPr>
              <a:cxnSpLocks/>
            </p:cNvCxnSpPr>
            <p:nvPr/>
          </p:nvCxnSpPr>
          <p:spPr>
            <a:xfrm>
              <a:off x="1050609" y="4113884"/>
              <a:ext cx="2050741" cy="0"/>
            </a:xfrm>
            <a:prstGeom prst="line">
              <a:avLst/>
            </a:prstGeom>
            <a:ln w="19050">
              <a:solidFill>
                <a:schemeClr val="tx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r Verbinder 23">
              <a:extLst>
                <a:ext uri="{FF2B5EF4-FFF2-40B4-BE49-F238E27FC236}">
                  <a16:creationId xmlns:a16="http://schemas.microsoft.com/office/drawing/2014/main" id="{9DF02870-6BBC-459B-BE48-546CE74F84CE}"/>
                </a:ext>
              </a:extLst>
            </p:cNvPr>
            <p:cNvCxnSpPr>
              <a:cxnSpLocks/>
            </p:cNvCxnSpPr>
            <p:nvPr/>
          </p:nvCxnSpPr>
          <p:spPr>
            <a:xfrm>
              <a:off x="1050609" y="4273682"/>
              <a:ext cx="2050741" cy="0"/>
            </a:xfrm>
            <a:prstGeom prst="line">
              <a:avLst/>
            </a:prstGeom>
            <a:ln w="19050">
              <a:solidFill>
                <a:schemeClr val="tx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r Verbinder 24">
              <a:extLst>
                <a:ext uri="{FF2B5EF4-FFF2-40B4-BE49-F238E27FC236}">
                  <a16:creationId xmlns:a16="http://schemas.microsoft.com/office/drawing/2014/main" id="{77CCD514-5AA4-4222-A87B-881DBEA1A6F9}"/>
                </a:ext>
              </a:extLst>
            </p:cNvPr>
            <p:cNvCxnSpPr>
              <a:cxnSpLocks/>
            </p:cNvCxnSpPr>
            <p:nvPr/>
          </p:nvCxnSpPr>
          <p:spPr>
            <a:xfrm>
              <a:off x="1050609" y="4460113"/>
              <a:ext cx="2050741" cy="0"/>
            </a:xfrm>
            <a:prstGeom prst="line">
              <a:avLst/>
            </a:prstGeom>
            <a:ln w="19050">
              <a:solidFill>
                <a:schemeClr val="tx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800489E6-F175-4082-8D67-BDCA560AC844}"/>
                </a:ext>
              </a:extLst>
            </p:cNvPr>
            <p:cNvCxnSpPr>
              <a:cxnSpLocks/>
            </p:cNvCxnSpPr>
            <p:nvPr/>
          </p:nvCxnSpPr>
          <p:spPr>
            <a:xfrm>
              <a:off x="1050609" y="4637667"/>
              <a:ext cx="2050741" cy="0"/>
            </a:xfrm>
            <a:prstGeom prst="line">
              <a:avLst/>
            </a:prstGeom>
            <a:ln w="19050">
              <a:solidFill>
                <a:schemeClr val="tx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403ED9AA-763C-4C70-8FB1-C40CCBE0E071}"/>
                </a:ext>
              </a:extLst>
            </p:cNvPr>
            <p:cNvSpPr/>
            <p:nvPr/>
          </p:nvSpPr>
          <p:spPr>
            <a:xfrm>
              <a:off x="1050609" y="3188387"/>
              <a:ext cx="1402672" cy="744666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 err="1"/>
            </a:p>
          </p:txBody>
        </p:sp>
        <p:sp>
          <p:nvSpPr>
            <p:cNvPr id="35" name="Textfeld 34">
              <a:extLst>
                <a:ext uri="{FF2B5EF4-FFF2-40B4-BE49-F238E27FC236}">
                  <a16:creationId xmlns:a16="http://schemas.microsoft.com/office/drawing/2014/main" id="{CC6E051A-0BA9-45AC-A7DE-5D7E239C18C2}"/>
                </a:ext>
              </a:extLst>
            </p:cNvPr>
            <p:cNvSpPr txBox="1"/>
            <p:nvPr/>
          </p:nvSpPr>
          <p:spPr>
            <a:xfrm>
              <a:off x="881933" y="1619643"/>
              <a:ext cx="2219417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de-DE" dirty="0">
                  <a:solidFill>
                    <a:schemeClr val="tx2"/>
                  </a:solidFill>
                </a:rPr>
                <a:t>Gestaltungsleitfaden</a:t>
              </a:r>
            </a:p>
          </p:txBody>
        </p:sp>
      </p:grp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5E4443BA-F857-4669-81D7-556BC2638DFC}"/>
              </a:ext>
            </a:extLst>
          </p:cNvPr>
          <p:cNvCxnSpPr>
            <a:cxnSpLocks/>
            <a:stCxn id="31" idx="3"/>
            <a:endCxn id="38" idx="1"/>
          </p:cNvCxnSpPr>
          <p:nvPr/>
        </p:nvCxnSpPr>
        <p:spPr>
          <a:xfrm flipV="1">
            <a:off x="3250378" y="2223150"/>
            <a:ext cx="1406954" cy="529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8" name="Rechteck 37">
            <a:extLst>
              <a:ext uri="{FF2B5EF4-FFF2-40B4-BE49-F238E27FC236}">
                <a16:creationId xmlns:a16="http://schemas.microsoft.com/office/drawing/2014/main" id="{8EF1BDA6-2DB9-4761-B41E-DBEC43DC8ABC}"/>
              </a:ext>
            </a:extLst>
          </p:cNvPr>
          <p:cNvSpPr/>
          <p:nvPr/>
        </p:nvSpPr>
        <p:spPr>
          <a:xfrm>
            <a:off x="4657332" y="2164256"/>
            <a:ext cx="136120" cy="117787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dirty="0" err="1"/>
          </a:p>
        </p:txBody>
      </p:sp>
      <p:sp>
        <p:nvSpPr>
          <p:cNvPr id="39" name="Textfeld 38">
            <a:extLst>
              <a:ext uri="{FF2B5EF4-FFF2-40B4-BE49-F238E27FC236}">
                <a16:creationId xmlns:a16="http://schemas.microsoft.com/office/drawing/2014/main" id="{F5ED0D93-2CD2-4353-92D9-1FE47CE5E191}"/>
              </a:ext>
            </a:extLst>
          </p:cNvPr>
          <p:cNvSpPr txBox="1"/>
          <p:nvPr/>
        </p:nvSpPr>
        <p:spPr>
          <a:xfrm>
            <a:off x="5029352" y="2116521"/>
            <a:ext cx="3595743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600" b="1" dirty="0">
                <a:solidFill>
                  <a:schemeClr val="tx2"/>
                </a:solidFill>
              </a:rPr>
              <a:t>Verfahrensmerkmale</a:t>
            </a:r>
          </a:p>
          <a:p>
            <a:pPr algn="l"/>
            <a:endParaRPr lang="de-DE" sz="1400" dirty="0">
              <a:solidFill>
                <a:schemeClr val="tx2"/>
              </a:solidFill>
            </a:endParaRPr>
          </a:p>
        </p:txBody>
      </p:sp>
      <p:grpSp>
        <p:nvGrpSpPr>
          <p:cNvPr id="41" name="Gruppieren 40">
            <a:extLst>
              <a:ext uri="{FF2B5EF4-FFF2-40B4-BE49-F238E27FC236}">
                <a16:creationId xmlns:a16="http://schemas.microsoft.com/office/drawing/2014/main" id="{E9893A03-0C13-4EBB-95FD-5AB674E4CE6B}"/>
              </a:ext>
            </a:extLst>
          </p:cNvPr>
          <p:cNvGrpSpPr/>
          <p:nvPr/>
        </p:nvGrpSpPr>
        <p:grpSpPr>
          <a:xfrm>
            <a:off x="5457945" y="2653806"/>
            <a:ext cx="2057264" cy="335987"/>
            <a:chOff x="690671" y="3053058"/>
            <a:chExt cx="7053838" cy="1331316"/>
          </a:xfrm>
        </p:grpSpPr>
        <p:grpSp>
          <p:nvGrpSpPr>
            <p:cNvPr id="42" name="Gruppieren 14">
              <a:extLst>
                <a:ext uri="{FF2B5EF4-FFF2-40B4-BE49-F238E27FC236}">
                  <a16:creationId xmlns:a16="http://schemas.microsoft.com/office/drawing/2014/main" id="{ACDF2B57-39F4-483C-894D-05674EDB8ACE}"/>
                </a:ext>
              </a:extLst>
            </p:cNvPr>
            <p:cNvGrpSpPr/>
            <p:nvPr/>
          </p:nvGrpSpPr>
          <p:grpSpPr>
            <a:xfrm>
              <a:off x="6172008" y="3301753"/>
              <a:ext cx="1572501" cy="1082621"/>
              <a:chOff x="5169019" y="836712"/>
              <a:chExt cx="2952325" cy="2032591"/>
            </a:xfrm>
          </p:grpSpPr>
          <p:sp>
            <p:nvSpPr>
              <p:cNvPr id="63" name="Würfel 63">
                <a:extLst>
                  <a:ext uri="{FF2B5EF4-FFF2-40B4-BE49-F238E27FC236}">
                    <a16:creationId xmlns:a16="http://schemas.microsoft.com/office/drawing/2014/main" id="{75F1D014-2279-4DA2-94BC-ADA09C93047D}"/>
                  </a:ext>
                </a:extLst>
              </p:cNvPr>
              <p:cNvSpPr/>
              <p:nvPr/>
            </p:nvSpPr>
            <p:spPr bwMode="auto">
              <a:xfrm>
                <a:off x="5169019" y="1933199"/>
                <a:ext cx="2952325" cy="936104"/>
              </a:xfrm>
              <a:prstGeom prst="cube">
                <a:avLst>
                  <a:gd name="adj" fmla="val 76399"/>
                </a:avLst>
              </a:prstGeom>
              <a:solidFill>
                <a:schemeClr val="bg1"/>
              </a:solidFill>
              <a:ln w="3175" cap="flat" cmpd="sng" algn="ctr">
                <a:solidFill>
                  <a:srgbClr val="899FB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1219170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333" dirty="0">
                  <a:solidFill>
                    <a:schemeClr val="bg1"/>
                  </a:solidFill>
                  <a:latin typeface="Arial" charset="0"/>
                </a:endParaRPr>
              </a:p>
            </p:txBody>
          </p:sp>
          <p:sp>
            <p:nvSpPr>
              <p:cNvPr id="64" name="Würfel 64">
                <a:extLst>
                  <a:ext uri="{FF2B5EF4-FFF2-40B4-BE49-F238E27FC236}">
                    <a16:creationId xmlns:a16="http://schemas.microsoft.com/office/drawing/2014/main" id="{E64DA167-B471-41D9-A99B-D7FB4BCE4D39}"/>
                  </a:ext>
                </a:extLst>
              </p:cNvPr>
              <p:cNvSpPr/>
              <p:nvPr/>
            </p:nvSpPr>
            <p:spPr bwMode="auto">
              <a:xfrm>
                <a:off x="5313034" y="1709999"/>
                <a:ext cx="2664293" cy="936104"/>
              </a:xfrm>
              <a:prstGeom prst="cube">
                <a:avLst>
                  <a:gd name="adj" fmla="val 76399"/>
                </a:avLst>
              </a:prstGeom>
              <a:solidFill>
                <a:schemeClr val="bg1"/>
              </a:solidFill>
              <a:ln w="3175" cap="flat" cmpd="sng" algn="ctr">
                <a:solidFill>
                  <a:srgbClr val="899FB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1219170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333" dirty="0">
                  <a:solidFill>
                    <a:schemeClr val="bg1"/>
                  </a:solidFill>
                  <a:latin typeface="Arial" charset="0"/>
                </a:endParaRPr>
              </a:p>
            </p:txBody>
          </p:sp>
          <p:sp>
            <p:nvSpPr>
              <p:cNvPr id="65" name="Würfel 65">
                <a:extLst>
                  <a:ext uri="{FF2B5EF4-FFF2-40B4-BE49-F238E27FC236}">
                    <a16:creationId xmlns:a16="http://schemas.microsoft.com/office/drawing/2014/main" id="{FAB9E641-1A68-43D5-A30E-47AD7A0BDC32}"/>
                  </a:ext>
                </a:extLst>
              </p:cNvPr>
              <p:cNvSpPr/>
              <p:nvPr/>
            </p:nvSpPr>
            <p:spPr bwMode="auto">
              <a:xfrm>
                <a:off x="5457051" y="1490399"/>
                <a:ext cx="2376263" cy="936104"/>
              </a:xfrm>
              <a:prstGeom prst="cube">
                <a:avLst>
                  <a:gd name="adj" fmla="val 76399"/>
                </a:avLst>
              </a:prstGeom>
              <a:solidFill>
                <a:schemeClr val="bg1"/>
              </a:solidFill>
              <a:ln w="3175" cap="flat" cmpd="sng" algn="ctr">
                <a:solidFill>
                  <a:srgbClr val="899FB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1219170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333" dirty="0">
                  <a:solidFill>
                    <a:schemeClr val="bg1"/>
                  </a:solidFill>
                  <a:latin typeface="Arial" charset="0"/>
                </a:endParaRPr>
              </a:p>
            </p:txBody>
          </p:sp>
          <p:sp>
            <p:nvSpPr>
              <p:cNvPr id="66" name="Würfel 4">
                <a:extLst>
                  <a:ext uri="{FF2B5EF4-FFF2-40B4-BE49-F238E27FC236}">
                    <a16:creationId xmlns:a16="http://schemas.microsoft.com/office/drawing/2014/main" id="{AABC8D31-15E6-433A-B6EC-89AAFB9B6D6E}"/>
                  </a:ext>
                </a:extLst>
              </p:cNvPr>
              <p:cNvSpPr/>
              <p:nvPr/>
            </p:nvSpPr>
            <p:spPr bwMode="auto">
              <a:xfrm>
                <a:off x="5601068" y="1268760"/>
                <a:ext cx="2088231" cy="936104"/>
              </a:xfrm>
              <a:prstGeom prst="cube">
                <a:avLst>
                  <a:gd name="adj" fmla="val 76399"/>
                </a:avLst>
              </a:prstGeom>
              <a:solidFill>
                <a:schemeClr val="bg1"/>
              </a:solidFill>
              <a:ln w="3175" cap="flat" cmpd="sng" algn="ctr">
                <a:solidFill>
                  <a:srgbClr val="899FB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1219170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333" dirty="0">
                  <a:solidFill>
                    <a:schemeClr val="bg1"/>
                  </a:solidFill>
                  <a:latin typeface="Arial" charset="0"/>
                </a:endParaRPr>
              </a:p>
            </p:txBody>
          </p:sp>
          <p:sp>
            <p:nvSpPr>
              <p:cNvPr id="67" name="Würfel 5">
                <a:extLst>
                  <a:ext uri="{FF2B5EF4-FFF2-40B4-BE49-F238E27FC236}">
                    <a16:creationId xmlns:a16="http://schemas.microsoft.com/office/drawing/2014/main" id="{02AC9D07-88E7-486C-80A5-92DD492E0529}"/>
                  </a:ext>
                </a:extLst>
              </p:cNvPr>
              <p:cNvSpPr/>
              <p:nvPr/>
            </p:nvSpPr>
            <p:spPr bwMode="auto">
              <a:xfrm>
                <a:off x="5745085" y="1052736"/>
                <a:ext cx="1800199" cy="932400"/>
              </a:xfrm>
              <a:prstGeom prst="cube">
                <a:avLst>
                  <a:gd name="adj" fmla="val 76399"/>
                </a:avLst>
              </a:prstGeom>
              <a:solidFill>
                <a:schemeClr val="bg1"/>
              </a:solidFill>
              <a:ln w="3175" cap="flat" cmpd="sng" algn="ctr">
                <a:solidFill>
                  <a:srgbClr val="899FB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1219170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333" dirty="0">
                  <a:solidFill>
                    <a:schemeClr val="bg1"/>
                  </a:solidFill>
                  <a:latin typeface="Arial" charset="0"/>
                </a:endParaRPr>
              </a:p>
            </p:txBody>
          </p:sp>
          <p:sp>
            <p:nvSpPr>
              <p:cNvPr id="68" name="Würfel 6">
                <a:extLst>
                  <a:ext uri="{FF2B5EF4-FFF2-40B4-BE49-F238E27FC236}">
                    <a16:creationId xmlns:a16="http://schemas.microsoft.com/office/drawing/2014/main" id="{BE72CEF9-F438-442D-99B2-824138BD897F}"/>
                  </a:ext>
                </a:extLst>
              </p:cNvPr>
              <p:cNvSpPr/>
              <p:nvPr/>
            </p:nvSpPr>
            <p:spPr bwMode="auto">
              <a:xfrm>
                <a:off x="5889104" y="836712"/>
                <a:ext cx="1512167" cy="928799"/>
              </a:xfrm>
              <a:prstGeom prst="cube">
                <a:avLst>
                  <a:gd name="adj" fmla="val 76399"/>
                </a:avLst>
              </a:prstGeom>
              <a:solidFill>
                <a:schemeClr val="bg1"/>
              </a:solidFill>
              <a:ln w="3175" cap="flat" cmpd="sng" algn="ctr">
                <a:solidFill>
                  <a:srgbClr val="899FB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1219170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333" dirty="0">
                  <a:solidFill>
                    <a:schemeClr val="bg1"/>
                  </a:solidFill>
                  <a:latin typeface="Arial" charset="0"/>
                </a:endParaRPr>
              </a:p>
            </p:txBody>
          </p:sp>
        </p:grpSp>
        <p:grpSp>
          <p:nvGrpSpPr>
            <p:cNvPr id="43" name="Gruppieren 28">
              <a:extLst>
                <a:ext uri="{FF2B5EF4-FFF2-40B4-BE49-F238E27FC236}">
                  <a16:creationId xmlns:a16="http://schemas.microsoft.com/office/drawing/2014/main" id="{36E2FD8A-3177-461F-9BAD-553209BE409F}"/>
                </a:ext>
              </a:extLst>
            </p:cNvPr>
            <p:cNvGrpSpPr/>
            <p:nvPr/>
          </p:nvGrpSpPr>
          <p:grpSpPr>
            <a:xfrm>
              <a:off x="690671" y="3399140"/>
              <a:ext cx="1607483" cy="985234"/>
              <a:chOff x="840683" y="4408077"/>
              <a:chExt cx="3018006" cy="1849751"/>
            </a:xfrm>
          </p:grpSpPr>
          <p:sp>
            <p:nvSpPr>
              <p:cNvPr id="61" name="Rechteck 26">
                <a:extLst>
                  <a:ext uri="{FF2B5EF4-FFF2-40B4-BE49-F238E27FC236}">
                    <a16:creationId xmlns:a16="http://schemas.microsoft.com/office/drawing/2014/main" id="{7D19FB31-48BF-4550-AF0E-9011E9F45287}"/>
                  </a:ext>
                </a:extLst>
              </p:cNvPr>
              <p:cNvSpPr/>
              <p:nvPr/>
            </p:nvSpPr>
            <p:spPr bwMode="auto">
              <a:xfrm rot="18886659">
                <a:off x="2199908" y="4115095"/>
                <a:ext cx="1365799" cy="1951763"/>
              </a:xfrm>
              <a:custGeom>
                <a:avLst/>
                <a:gdLst>
                  <a:gd name="connsiteX0" fmla="*/ 0 w 1029583"/>
                  <a:gd name="connsiteY0" fmla="*/ 0 h 1922315"/>
                  <a:gd name="connsiteX1" fmla="*/ 1029583 w 1029583"/>
                  <a:gd name="connsiteY1" fmla="*/ 0 h 1922315"/>
                  <a:gd name="connsiteX2" fmla="*/ 1029583 w 1029583"/>
                  <a:gd name="connsiteY2" fmla="*/ 1922315 h 1922315"/>
                  <a:gd name="connsiteX3" fmla="*/ 0 w 1029583"/>
                  <a:gd name="connsiteY3" fmla="*/ 1922315 h 1922315"/>
                  <a:gd name="connsiteX4" fmla="*/ 0 w 1029583"/>
                  <a:gd name="connsiteY4" fmla="*/ 0 h 1922315"/>
                  <a:gd name="connsiteX0" fmla="*/ 0 w 1301808"/>
                  <a:gd name="connsiteY0" fmla="*/ 0 h 1922315"/>
                  <a:gd name="connsiteX1" fmla="*/ 1301808 w 1301808"/>
                  <a:gd name="connsiteY1" fmla="*/ 45959 h 1922315"/>
                  <a:gd name="connsiteX2" fmla="*/ 1029583 w 1301808"/>
                  <a:gd name="connsiteY2" fmla="*/ 1922315 h 1922315"/>
                  <a:gd name="connsiteX3" fmla="*/ 0 w 1301808"/>
                  <a:gd name="connsiteY3" fmla="*/ 1922315 h 1922315"/>
                  <a:gd name="connsiteX4" fmla="*/ 0 w 1301808"/>
                  <a:gd name="connsiteY4" fmla="*/ 0 h 1922315"/>
                  <a:gd name="connsiteX0" fmla="*/ 0 w 1376629"/>
                  <a:gd name="connsiteY0" fmla="*/ 0 h 1922315"/>
                  <a:gd name="connsiteX1" fmla="*/ 1301808 w 1376629"/>
                  <a:gd name="connsiteY1" fmla="*/ 45959 h 1922315"/>
                  <a:gd name="connsiteX2" fmla="*/ 1029583 w 1376629"/>
                  <a:gd name="connsiteY2" fmla="*/ 1922315 h 1922315"/>
                  <a:gd name="connsiteX3" fmla="*/ 0 w 1376629"/>
                  <a:gd name="connsiteY3" fmla="*/ 1922315 h 1922315"/>
                  <a:gd name="connsiteX4" fmla="*/ 0 w 1376629"/>
                  <a:gd name="connsiteY4" fmla="*/ 0 h 1922315"/>
                  <a:gd name="connsiteX0" fmla="*/ 0 w 1376629"/>
                  <a:gd name="connsiteY0" fmla="*/ 19755 h 1942070"/>
                  <a:gd name="connsiteX1" fmla="*/ 1301808 w 1376629"/>
                  <a:gd name="connsiteY1" fmla="*/ 65714 h 1942070"/>
                  <a:gd name="connsiteX2" fmla="*/ 1029583 w 1376629"/>
                  <a:gd name="connsiteY2" fmla="*/ 1942070 h 1942070"/>
                  <a:gd name="connsiteX3" fmla="*/ 0 w 1376629"/>
                  <a:gd name="connsiteY3" fmla="*/ 1942070 h 1942070"/>
                  <a:gd name="connsiteX4" fmla="*/ 0 w 1376629"/>
                  <a:gd name="connsiteY4" fmla="*/ 19755 h 1942070"/>
                  <a:gd name="connsiteX0" fmla="*/ 0 w 1396393"/>
                  <a:gd name="connsiteY0" fmla="*/ 19755 h 1942070"/>
                  <a:gd name="connsiteX1" fmla="*/ 1301808 w 1396393"/>
                  <a:gd name="connsiteY1" fmla="*/ 65714 h 1942070"/>
                  <a:gd name="connsiteX2" fmla="*/ 1029583 w 1396393"/>
                  <a:gd name="connsiteY2" fmla="*/ 1942070 h 1942070"/>
                  <a:gd name="connsiteX3" fmla="*/ 0 w 1396393"/>
                  <a:gd name="connsiteY3" fmla="*/ 1942070 h 1942070"/>
                  <a:gd name="connsiteX4" fmla="*/ 0 w 1396393"/>
                  <a:gd name="connsiteY4" fmla="*/ 19755 h 1942070"/>
                  <a:gd name="connsiteX0" fmla="*/ 0 w 1407389"/>
                  <a:gd name="connsiteY0" fmla="*/ 19755 h 1942070"/>
                  <a:gd name="connsiteX1" fmla="*/ 1301808 w 1407389"/>
                  <a:gd name="connsiteY1" fmla="*/ 65714 h 1942070"/>
                  <a:gd name="connsiteX2" fmla="*/ 1029583 w 1407389"/>
                  <a:gd name="connsiteY2" fmla="*/ 1942070 h 1942070"/>
                  <a:gd name="connsiteX3" fmla="*/ 0 w 1407389"/>
                  <a:gd name="connsiteY3" fmla="*/ 1942070 h 1942070"/>
                  <a:gd name="connsiteX4" fmla="*/ 0 w 1407389"/>
                  <a:gd name="connsiteY4" fmla="*/ 19755 h 1942070"/>
                  <a:gd name="connsiteX0" fmla="*/ 125839 w 1407389"/>
                  <a:gd name="connsiteY0" fmla="*/ 3448 h 1955210"/>
                  <a:gd name="connsiteX1" fmla="*/ 1301808 w 1407389"/>
                  <a:gd name="connsiteY1" fmla="*/ 78854 h 1955210"/>
                  <a:gd name="connsiteX2" fmla="*/ 1029583 w 1407389"/>
                  <a:gd name="connsiteY2" fmla="*/ 1955210 h 1955210"/>
                  <a:gd name="connsiteX3" fmla="*/ 0 w 1407389"/>
                  <a:gd name="connsiteY3" fmla="*/ 1955210 h 1955210"/>
                  <a:gd name="connsiteX4" fmla="*/ 125839 w 1407389"/>
                  <a:gd name="connsiteY4" fmla="*/ 3448 h 1955210"/>
                  <a:gd name="connsiteX0" fmla="*/ 125839 w 1412552"/>
                  <a:gd name="connsiteY0" fmla="*/ 6329 h 1958091"/>
                  <a:gd name="connsiteX1" fmla="*/ 1307817 w 1412552"/>
                  <a:gd name="connsiteY1" fmla="*/ 75771 h 1958091"/>
                  <a:gd name="connsiteX2" fmla="*/ 1029583 w 1412552"/>
                  <a:gd name="connsiteY2" fmla="*/ 1958091 h 1958091"/>
                  <a:gd name="connsiteX3" fmla="*/ 0 w 1412552"/>
                  <a:gd name="connsiteY3" fmla="*/ 1958091 h 1958091"/>
                  <a:gd name="connsiteX4" fmla="*/ 125839 w 1412552"/>
                  <a:gd name="connsiteY4" fmla="*/ 6329 h 1958091"/>
                  <a:gd name="connsiteX0" fmla="*/ 125839 w 1381801"/>
                  <a:gd name="connsiteY0" fmla="*/ 0 h 1951762"/>
                  <a:gd name="connsiteX1" fmla="*/ 1271792 w 1381801"/>
                  <a:gd name="connsiteY1" fmla="*/ 96243 h 1951762"/>
                  <a:gd name="connsiteX2" fmla="*/ 1029583 w 1381801"/>
                  <a:gd name="connsiteY2" fmla="*/ 1951762 h 1951762"/>
                  <a:gd name="connsiteX3" fmla="*/ 0 w 1381801"/>
                  <a:gd name="connsiteY3" fmla="*/ 1951762 h 1951762"/>
                  <a:gd name="connsiteX4" fmla="*/ 125839 w 1381801"/>
                  <a:gd name="connsiteY4" fmla="*/ 0 h 1951762"/>
                  <a:gd name="connsiteX0" fmla="*/ 125839 w 1370333"/>
                  <a:gd name="connsiteY0" fmla="*/ 0 h 1951762"/>
                  <a:gd name="connsiteX1" fmla="*/ 1258199 w 1370333"/>
                  <a:gd name="connsiteY1" fmla="*/ 127622 h 1951762"/>
                  <a:gd name="connsiteX2" fmla="*/ 1029583 w 1370333"/>
                  <a:gd name="connsiteY2" fmla="*/ 1951762 h 1951762"/>
                  <a:gd name="connsiteX3" fmla="*/ 0 w 1370333"/>
                  <a:gd name="connsiteY3" fmla="*/ 1951762 h 1951762"/>
                  <a:gd name="connsiteX4" fmla="*/ 125839 w 1370333"/>
                  <a:gd name="connsiteY4" fmla="*/ 0 h 1951762"/>
                  <a:gd name="connsiteX0" fmla="*/ 129228 w 1373722"/>
                  <a:gd name="connsiteY0" fmla="*/ 0 h 1957362"/>
                  <a:gd name="connsiteX1" fmla="*/ 1261588 w 1373722"/>
                  <a:gd name="connsiteY1" fmla="*/ 127622 h 1957362"/>
                  <a:gd name="connsiteX2" fmla="*/ 1032972 w 1373722"/>
                  <a:gd name="connsiteY2" fmla="*/ 1951762 h 1957362"/>
                  <a:gd name="connsiteX3" fmla="*/ 0 w 1373722"/>
                  <a:gd name="connsiteY3" fmla="*/ 1957362 h 1957362"/>
                  <a:gd name="connsiteX4" fmla="*/ 129228 w 1373722"/>
                  <a:gd name="connsiteY4" fmla="*/ 0 h 1957362"/>
                  <a:gd name="connsiteX0" fmla="*/ 121305 w 1365799"/>
                  <a:gd name="connsiteY0" fmla="*/ 0 h 1951762"/>
                  <a:gd name="connsiteX1" fmla="*/ 1253665 w 1365799"/>
                  <a:gd name="connsiteY1" fmla="*/ 127622 h 1951762"/>
                  <a:gd name="connsiteX2" fmla="*/ 1025049 w 1365799"/>
                  <a:gd name="connsiteY2" fmla="*/ 1951762 h 1951762"/>
                  <a:gd name="connsiteX3" fmla="*/ 0 w 1365799"/>
                  <a:gd name="connsiteY3" fmla="*/ 1940555 h 1951762"/>
                  <a:gd name="connsiteX4" fmla="*/ 121305 w 1365799"/>
                  <a:gd name="connsiteY4" fmla="*/ 0 h 1951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65799" h="1951762">
                    <a:moveTo>
                      <a:pt x="121305" y="0"/>
                    </a:moveTo>
                    <a:cubicBezTo>
                      <a:pt x="555241" y="15320"/>
                      <a:pt x="1152424" y="2837"/>
                      <a:pt x="1253665" y="127622"/>
                    </a:cubicBezTo>
                    <a:cubicBezTo>
                      <a:pt x="1573866" y="536146"/>
                      <a:pt x="1115791" y="1326310"/>
                      <a:pt x="1025049" y="1951762"/>
                    </a:cubicBezTo>
                    <a:lnTo>
                      <a:pt x="0" y="1940555"/>
                    </a:lnTo>
                    <a:lnTo>
                      <a:pt x="121305" y="0"/>
                    </a:lnTo>
                    <a:close/>
                  </a:path>
                </a:pathLst>
              </a:custGeom>
              <a:gradFill>
                <a:gsLst>
                  <a:gs pos="0">
                    <a:schemeClr val="tx1">
                      <a:lumMod val="50000"/>
                      <a:lumOff val="50000"/>
                    </a:schemeClr>
                  </a:gs>
                  <a:gs pos="87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7200000" scaled="0"/>
              </a:gradFill>
              <a:ln w="3175" cap="flat" cmpd="sng" algn="ctr">
                <a:solidFill>
                  <a:srgbClr val="899FB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1219170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333" dirty="0">
                  <a:solidFill>
                    <a:schemeClr val="bg1"/>
                  </a:solidFill>
                  <a:latin typeface="Arial" charset="0"/>
                </a:endParaRPr>
              </a:p>
            </p:txBody>
          </p:sp>
          <p:sp>
            <p:nvSpPr>
              <p:cNvPr id="62" name="Freihandform 39">
                <a:extLst>
                  <a:ext uri="{FF2B5EF4-FFF2-40B4-BE49-F238E27FC236}">
                    <a16:creationId xmlns:a16="http://schemas.microsoft.com/office/drawing/2014/main" id="{D7349B1A-AD36-4B6C-A811-3A1C2F669E0C}"/>
                  </a:ext>
                </a:extLst>
              </p:cNvPr>
              <p:cNvSpPr/>
              <p:nvPr/>
            </p:nvSpPr>
            <p:spPr bwMode="auto">
              <a:xfrm>
                <a:off x="840683" y="4750558"/>
                <a:ext cx="2242872" cy="1507270"/>
              </a:xfrm>
              <a:custGeom>
                <a:avLst/>
                <a:gdLst>
                  <a:gd name="connsiteX0" fmla="*/ 1121436 w 2242872"/>
                  <a:gd name="connsiteY0" fmla="*/ 0 h 1483870"/>
                  <a:gd name="connsiteX1" fmla="*/ 1264284 w 2242872"/>
                  <a:gd name="connsiteY1" fmla="*/ 16889 h 1483870"/>
                  <a:gd name="connsiteX2" fmla="*/ 1285665 w 2242872"/>
                  <a:gd name="connsiteY2" fmla="*/ 23353 h 1483870"/>
                  <a:gd name="connsiteX3" fmla="*/ 1311908 w 2242872"/>
                  <a:gd name="connsiteY3" fmla="*/ 43437 h 1483870"/>
                  <a:gd name="connsiteX4" fmla="*/ 2242872 w 2242872"/>
                  <a:gd name="connsiteY4" fmla="*/ 1483870 h 1483870"/>
                  <a:gd name="connsiteX5" fmla="*/ 0 w 2242872"/>
                  <a:gd name="connsiteY5" fmla="*/ 1483870 h 1483870"/>
                  <a:gd name="connsiteX6" fmla="*/ 932399 w 2242872"/>
                  <a:gd name="connsiteY6" fmla="*/ 52163 h 1483870"/>
                  <a:gd name="connsiteX7" fmla="*/ 978128 w 2242872"/>
                  <a:gd name="connsiteY7" fmla="*/ 17028 h 1483870"/>
                  <a:gd name="connsiteX8" fmla="*/ 978588 w 2242872"/>
                  <a:gd name="connsiteY8" fmla="*/ 16889 h 1483870"/>
                  <a:gd name="connsiteX9" fmla="*/ 1121436 w 2242872"/>
                  <a:gd name="connsiteY9" fmla="*/ 0 h 1483870"/>
                  <a:gd name="connsiteX0" fmla="*/ 1125669 w 2242872"/>
                  <a:gd name="connsiteY0" fmla="*/ 0 h 1507154"/>
                  <a:gd name="connsiteX1" fmla="*/ 1264284 w 2242872"/>
                  <a:gd name="connsiteY1" fmla="*/ 40173 h 1507154"/>
                  <a:gd name="connsiteX2" fmla="*/ 1285665 w 2242872"/>
                  <a:gd name="connsiteY2" fmla="*/ 46637 h 1507154"/>
                  <a:gd name="connsiteX3" fmla="*/ 1311908 w 2242872"/>
                  <a:gd name="connsiteY3" fmla="*/ 66721 h 1507154"/>
                  <a:gd name="connsiteX4" fmla="*/ 2242872 w 2242872"/>
                  <a:gd name="connsiteY4" fmla="*/ 1507154 h 1507154"/>
                  <a:gd name="connsiteX5" fmla="*/ 0 w 2242872"/>
                  <a:gd name="connsiteY5" fmla="*/ 1507154 h 1507154"/>
                  <a:gd name="connsiteX6" fmla="*/ 932399 w 2242872"/>
                  <a:gd name="connsiteY6" fmla="*/ 75447 h 1507154"/>
                  <a:gd name="connsiteX7" fmla="*/ 978128 w 2242872"/>
                  <a:gd name="connsiteY7" fmla="*/ 40312 h 1507154"/>
                  <a:gd name="connsiteX8" fmla="*/ 978588 w 2242872"/>
                  <a:gd name="connsiteY8" fmla="*/ 40173 h 1507154"/>
                  <a:gd name="connsiteX9" fmla="*/ 1125669 w 2242872"/>
                  <a:gd name="connsiteY9" fmla="*/ 0 h 1507154"/>
                  <a:gd name="connsiteX0" fmla="*/ 1125669 w 2242872"/>
                  <a:gd name="connsiteY0" fmla="*/ 102 h 1507256"/>
                  <a:gd name="connsiteX1" fmla="*/ 1264284 w 2242872"/>
                  <a:gd name="connsiteY1" fmla="*/ 40275 h 1507256"/>
                  <a:gd name="connsiteX2" fmla="*/ 1285665 w 2242872"/>
                  <a:gd name="connsiteY2" fmla="*/ 46739 h 1507256"/>
                  <a:gd name="connsiteX3" fmla="*/ 1311908 w 2242872"/>
                  <a:gd name="connsiteY3" fmla="*/ 66823 h 1507256"/>
                  <a:gd name="connsiteX4" fmla="*/ 2242872 w 2242872"/>
                  <a:gd name="connsiteY4" fmla="*/ 1507256 h 1507256"/>
                  <a:gd name="connsiteX5" fmla="*/ 0 w 2242872"/>
                  <a:gd name="connsiteY5" fmla="*/ 1507256 h 1507256"/>
                  <a:gd name="connsiteX6" fmla="*/ 932399 w 2242872"/>
                  <a:gd name="connsiteY6" fmla="*/ 75549 h 1507256"/>
                  <a:gd name="connsiteX7" fmla="*/ 978128 w 2242872"/>
                  <a:gd name="connsiteY7" fmla="*/ 40414 h 1507256"/>
                  <a:gd name="connsiteX8" fmla="*/ 978588 w 2242872"/>
                  <a:gd name="connsiteY8" fmla="*/ 40275 h 1507256"/>
                  <a:gd name="connsiteX9" fmla="*/ 1125669 w 2242872"/>
                  <a:gd name="connsiteY9" fmla="*/ 102 h 1507256"/>
                  <a:gd name="connsiteX0" fmla="*/ 1125669 w 2242872"/>
                  <a:gd name="connsiteY0" fmla="*/ 65 h 1507219"/>
                  <a:gd name="connsiteX1" fmla="*/ 1249468 w 2242872"/>
                  <a:gd name="connsiteY1" fmla="*/ 31771 h 1507219"/>
                  <a:gd name="connsiteX2" fmla="*/ 1285665 w 2242872"/>
                  <a:gd name="connsiteY2" fmla="*/ 46702 h 1507219"/>
                  <a:gd name="connsiteX3" fmla="*/ 1311908 w 2242872"/>
                  <a:gd name="connsiteY3" fmla="*/ 66786 h 1507219"/>
                  <a:gd name="connsiteX4" fmla="*/ 2242872 w 2242872"/>
                  <a:gd name="connsiteY4" fmla="*/ 1507219 h 1507219"/>
                  <a:gd name="connsiteX5" fmla="*/ 0 w 2242872"/>
                  <a:gd name="connsiteY5" fmla="*/ 1507219 h 1507219"/>
                  <a:gd name="connsiteX6" fmla="*/ 932399 w 2242872"/>
                  <a:gd name="connsiteY6" fmla="*/ 75512 h 1507219"/>
                  <a:gd name="connsiteX7" fmla="*/ 978128 w 2242872"/>
                  <a:gd name="connsiteY7" fmla="*/ 40377 h 1507219"/>
                  <a:gd name="connsiteX8" fmla="*/ 978588 w 2242872"/>
                  <a:gd name="connsiteY8" fmla="*/ 40238 h 1507219"/>
                  <a:gd name="connsiteX9" fmla="*/ 1125669 w 2242872"/>
                  <a:gd name="connsiteY9" fmla="*/ 65 h 1507219"/>
                  <a:gd name="connsiteX0" fmla="*/ 1125669 w 2242872"/>
                  <a:gd name="connsiteY0" fmla="*/ 65 h 1507219"/>
                  <a:gd name="connsiteX1" fmla="*/ 1249468 w 2242872"/>
                  <a:gd name="connsiteY1" fmla="*/ 31771 h 1507219"/>
                  <a:gd name="connsiteX2" fmla="*/ 1285665 w 2242872"/>
                  <a:gd name="connsiteY2" fmla="*/ 46702 h 1507219"/>
                  <a:gd name="connsiteX3" fmla="*/ 1311908 w 2242872"/>
                  <a:gd name="connsiteY3" fmla="*/ 66786 h 1507219"/>
                  <a:gd name="connsiteX4" fmla="*/ 2242872 w 2242872"/>
                  <a:gd name="connsiteY4" fmla="*/ 1507219 h 1507219"/>
                  <a:gd name="connsiteX5" fmla="*/ 0 w 2242872"/>
                  <a:gd name="connsiteY5" fmla="*/ 1507219 h 1507219"/>
                  <a:gd name="connsiteX6" fmla="*/ 932399 w 2242872"/>
                  <a:gd name="connsiteY6" fmla="*/ 75512 h 1507219"/>
                  <a:gd name="connsiteX7" fmla="*/ 978128 w 2242872"/>
                  <a:gd name="connsiteY7" fmla="*/ 40377 h 1507219"/>
                  <a:gd name="connsiteX8" fmla="*/ 978588 w 2242872"/>
                  <a:gd name="connsiteY8" fmla="*/ 40238 h 1507219"/>
                  <a:gd name="connsiteX9" fmla="*/ 1125669 w 2242872"/>
                  <a:gd name="connsiteY9" fmla="*/ 65 h 1507219"/>
                  <a:gd name="connsiteX0" fmla="*/ 1125669 w 2242872"/>
                  <a:gd name="connsiteY0" fmla="*/ 116 h 1507270"/>
                  <a:gd name="connsiteX1" fmla="*/ 1249468 w 2242872"/>
                  <a:gd name="connsiteY1" fmla="*/ 31822 h 1507270"/>
                  <a:gd name="connsiteX2" fmla="*/ 1285665 w 2242872"/>
                  <a:gd name="connsiteY2" fmla="*/ 46753 h 1507270"/>
                  <a:gd name="connsiteX3" fmla="*/ 1311908 w 2242872"/>
                  <a:gd name="connsiteY3" fmla="*/ 66837 h 1507270"/>
                  <a:gd name="connsiteX4" fmla="*/ 2242872 w 2242872"/>
                  <a:gd name="connsiteY4" fmla="*/ 1507270 h 1507270"/>
                  <a:gd name="connsiteX5" fmla="*/ 0 w 2242872"/>
                  <a:gd name="connsiteY5" fmla="*/ 1507270 h 1507270"/>
                  <a:gd name="connsiteX6" fmla="*/ 932399 w 2242872"/>
                  <a:gd name="connsiteY6" fmla="*/ 75563 h 1507270"/>
                  <a:gd name="connsiteX7" fmla="*/ 978128 w 2242872"/>
                  <a:gd name="connsiteY7" fmla="*/ 40428 h 1507270"/>
                  <a:gd name="connsiteX8" fmla="*/ 978588 w 2242872"/>
                  <a:gd name="connsiteY8" fmla="*/ 40289 h 1507270"/>
                  <a:gd name="connsiteX9" fmla="*/ 1125669 w 2242872"/>
                  <a:gd name="connsiteY9" fmla="*/ 116 h 1507270"/>
                  <a:gd name="connsiteX0" fmla="*/ 1125669 w 2242872"/>
                  <a:gd name="connsiteY0" fmla="*/ 116 h 1507270"/>
                  <a:gd name="connsiteX1" fmla="*/ 1249468 w 2242872"/>
                  <a:gd name="connsiteY1" fmla="*/ 31822 h 1507270"/>
                  <a:gd name="connsiteX2" fmla="*/ 1279315 w 2242872"/>
                  <a:gd name="connsiteY2" fmla="*/ 50986 h 1507270"/>
                  <a:gd name="connsiteX3" fmla="*/ 1311908 w 2242872"/>
                  <a:gd name="connsiteY3" fmla="*/ 66837 h 1507270"/>
                  <a:gd name="connsiteX4" fmla="*/ 2242872 w 2242872"/>
                  <a:gd name="connsiteY4" fmla="*/ 1507270 h 1507270"/>
                  <a:gd name="connsiteX5" fmla="*/ 0 w 2242872"/>
                  <a:gd name="connsiteY5" fmla="*/ 1507270 h 1507270"/>
                  <a:gd name="connsiteX6" fmla="*/ 932399 w 2242872"/>
                  <a:gd name="connsiteY6" fmla="*/ 75563 h 1507270"/>
                  <a:gd name="connsiteX7" fmla="*/ 978128 w 2242872"/>
                  <a:gd name="connsiteY7" fmla="*/ 40428 h 1507270"/>
                  <a:gd name="connsiteX8" fmla="*/ 978588 w 2242872"/>
                  <a:gd name="connsiteY8" fmla="*/ 40289 h 1507270"/>
                  <a:gd name="connsiteX9" fmla="*/ 1125669 w 2242872"/>
                  <a:gd name="connsiteY9" fmla="*/ 116 h 1507270"/>
                  <a:gd name="connsiteX0" fmla="*/ 1125669 w 2242872"/>
                  <a:gd name="connsiteY0" fmla="*/ 116 h 1507270"/>
                  <a:gd name="connsiteX1" fmla="*/ 1249468 w 2242872"/>
                  <a:gd name="connsiteY1" fmla="*/ 31822 h 1507270"/>
                  <a:gd name="connsiteX2" fmla="*/ 1279315 w 2242872"/>
                  <a:gd name="connsiteY2" fmla="*/ 50986 h 1507270"/>
                  <a:gd name="connsiteX3" fmla="*/ 1307675 w 2242872"/>
                  <a:gd name="connsiteY3" fmla="*/ 68954 h 1507270"/>
                  <a:gd name="connsiteX4" fmla="*/ 2242872 w 2242872"/>
                  <a:gd name="connsiteY4" fmla="*/ 1507270 h 1507270"/>
                  <a:gd name="connsiteX5" fmla="*/ 0 w 2242872"/>
                  <a:gd name="connsiteY5" fmla="*/ 1507270 h 1507270"/>
                  <a:gd name="connsiteX6" fmla="*/ 932399 w 2242872"/>
                  <a:gd name="connsiteY6" fmla="*/ 75563 h 1507270"/>
                  <a:gd name="connsiteX7" fmla="*/ 978128 w 2242872"/>
                  <a:gd name="connsiteY7" fmla="*/ 40428 h 1507270"/>
                  <a:gd name="connsiteX8" fmla="*/ 978588 w 2242872"/>
                  <a:gd name="connsiteY8" fmla="*/ 40289 h 1507270"/>
                  <a:gd name="connsiteX9" fmla="*/ 1125669 w 2242872"/>
                  <a:gd name="connsiteY9" fmla="*/ 116 h 1507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242872" h="1507270">
                    <a:moveTo>
                      <a:pt x="1125669" y="116"/>
                    </a:moveTo>
                    <a:cubicBezTo>
                      <a:pt x="1170816" y="-1295"/>
                      <a:pt x="1213718" y="10125"/>
                      <a:pt x="1249468" y="31822"/>
                    </a:cubicBezTo>
                    <a:lnTo>
                      <a:pt x="1279315" y="50986"/>
                    </a:lnTo>
                    <a:lnTo>
                      <a:pt x="1307675" y="68954"/>
                    </a:lnTo>
                    <a:cubicBezTo>
                      <a:pt x="1708736" y="408381"/>
                      <a:pt x="1923571" y="1038451"/>
                      <a:pt x="2242872" y="1507270"/>
                    </a:cubicBezTo>
                    <a:lnTo>
                      <a:pt x="0" y="1507270"/>
                    </a:lnTo>
                    <a:cubicBezTo>
                      <a:pt x="334805" y="1038451"/>
                      <a:pt x="514031" y="429534"/>
                      <a:pt x="932399" y="75563"/>
                    </a:cubicBezTo>
                    <a:lnTo>
                      <a:pt x="978128" y="40428"/>
                    </a:lnTo>
                    <a:lnTo>
                      <a:pt x="978588" y="40289"/>
                    </a:lnTo>
                    <a:cubicBezTo>
                      <a:pt x="1043971" y="1658"/>
                      <a:pt x="1080522" y="1527"/>
                      <a:pt x="1125669" y="116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flat" cmpd="sng" algn="ctr">
                <a:solidFill>
                  <a:srgbClr val="899FB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1219170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333" dirty="0">
                  <a:solidFill>
                    <a:schemeClr val="bg1"/>
                  </a:solidFill>
                  <a:latin typeface="Arial" charset="0"/>
                </a:endParaRPr>
              </a:p>
            </p:txBody>
          </p:sp>
        </p:grpSp>
        <p:grpSp>
          <p:nvGrpSpPr>
            <p:cNvPr id="44" name="Gruppieren 4">
              <a:extLst>
                <a:ext uri="{FF2B5EF4-FFF2-40B4-BE49-F238E27FC236}">
                  <a16:creationId xmlns:a16="http://schemas.microsoft.com/office/drawing/2014/main" id="{00B07E3F-AFAC-4326-8080-AF0811ABC5F6}"/>
                </a:ext>
              </a:extLst>
            </p:cNvPr>
            <p:cNvGrpSpPr/>
            <p:nvPr/>
          </p:nvGrpSpPr>
          <p:grpSpPr>
            <a:xfrm>
              <a:off x="3457491" y="3053058"/>
              <a:ext cx="1585302" cy="1331316"/>
              <a:chOff x="3826129" y="3053058"/>
              <a:chExt cx="1585302" cy="1331316"/>
            </a:xfrm>
          </p:grpSpPr>
          <p:grpSp>
            <p:nvGrpSpPr>
              <p:cNvPr id="47" name="Gruppieren 85">
                <a:extLst>
                  <a:ext uri="{FF2B5EF4-FFF2-40B4-BE49-F238E27FC236}">
                    <a16:creationId xmlns:a16="http://schemas.microsoft.com/office/drawing/2014/main" id="{9F921C32-9D83-4FB1-BAA4-B3E1F32C2843}"/>
                  </a:ext>
                </a:extLst>
              </p:cNvPr>
              <p:cNvGrpSpPr/>
              <p:nvPr/>
            </p:nvGrpSpPr>
            <p:grpSpPr>
              <a:xfrm>
                <a:off x="3826129" y="3053058"/>
                <a:ext cx="1585302" cy="1331316"/>
                <a:chOff x="2430255" y="3723123"/>
                <a:chExt cx="2976414" cy="2499493"/>
              </a:xfrm>
            </p:grpSpPr>
            <p:sp>
              <p:nvSpPr>
                <p:cNvPr id="50" name="Rechtwinkliges Dreieck 49">
                  <a:extLst>
                    <a:ext uri="{FF2B5EF4-FFF2-40B4-BE49-F238E27FC236}">
                      <a16:creationId xmlns:a16="http://schemas.microsoft.com/office/drawing/2014/main" id="{850480ED-165D-4469-A43F-DD9C41D0B2CC}"/>
                    </a:ext>
                  </a:extLst>
                </p:cNvPr>
                <p:cNvSpPr/>
                <p:nvPr/>
              </p:nvSpPr>
              <p:spPr bwMode="auto">
                <a:xfrm rot="16200000">
                  <a:off x="2116918" y="5182496"/>
                  <a:ext cx="1353456" cy="726782"/>
                </a:xfrm>
                <a:prstGeom prst="rtTriangle">
                  <a:avLst/>
                </a:prstGeom>
                <a:solidFill>
                  <a:schemeClr val="bg1"/>
                </a:solidFill>
                <a:ln w="3175" cap="flat" cmpd="sng" algn="ctr">
                  <a:solidFill>
                    <a:srgbClr val="899FB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121917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de-DE" sz="1333" dirty="0">
                    <a:solidFill>
                      <a:schemeClr val="bg1"/>
                    </a:solidFill>
                    <a:latin typeface="Arial" charset="0"/>
                  </a:endParaRPr>
                </a:p>
              </p:txBody>
            </p:sp>
            <p:grpSp>
              <p:nvGrpSpPr>
                <p:cNvPr id="51" name="Gruppieren 34">
                  <a:extLst>
                    <a:ext uri="{FF2B5EF4-FFF2-40B4-BE49-F238E27FC236}">
                      <a16:creationId xmlns:a16="http://schemas.microsoft.com/office/drawing/2014/main" id="{A3D1656F-F679-4A0D-A836-2CF88396F4C7}"/>
                    </a:ext>
                  </a:extLst>
                </p:cNvPr>
                <p:cNvGrpSpPr/>
                <p:nvPr/>
              </p:nvGrpSpPr>
              <p:grpSpPr>
                <a:xfrm>
                  <a:off x="3420778" y="4149079"/>
                  <a:ext cx="1261889" cy="2073535"/>
                  <a:chOff x="3692860" y="4092800"/>
                  <a:chExt cx="1261864" cy="2073536"/>
                </a:xfrm>
              </p:grpSpPr>
              <p:sp>
                <p:nvSpPr>
                  <p:cNvPr id="59" name="Cube 70">
                    <a:extLst>
                      <a:ext uri="{FF2B5EF4-FFF2-40B4-BE49-F238E27FC236}">
                        <a16:creationId xmlns:a16="http://schemas.microsoft.com/office/drawing/2014/main" id="{58D577A7-B6BC-4608-A2C2-425C979B56FD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3692860" y="4092800"/>
                    <a:ext cx="1008112" cy="2073536"/>
                  </a:xfrm>
                  <a:prstGeom prst="cube">
                    <a:avLst>
                      <a:gd name="adj" fmla="val 71612"/>
                    </a:avLst>
                  </a:prstGeom>
                  <a:solidFill>
                    <a:schemeClr val="bg1"/>
                  </a:solidFill>
                  <a:ln w="3175" cap="flat" cmpd="sng" algn="ctr">
                    <a:solidFill>
                      <a:srgbClr val="899FB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 defTabSz="1219170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de-DE" sz="1333" dirty="0">
                      <a:solidFill>
                        <a:schemeClr val="bg1"/>
                      </a:solidFill>
                      <a:latin typeface="Arial" charset="0"/>
                    </a:endParaRPr>
                  </a:p>
                </p:txBody>
              </p:sp>
              <p:sp>
                <p:nvSpPr>
                  <p:cNvPr id="60" name="Cube 71">
                    <a:extLst>
                      <a:ext uri="{FF2B5EF4-FFF2-40B4-BE49-F238E27FC236}">
                        <a16:creationId xmlns:a16="http://schemas.microsoft.com/office/drawing/2014/main" id="{CA696795-29C5-49F4-93A8-555AD54A63DB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3946612" y="4092800"/>
                    <a:ext cx="1008112" cy="2073536"/>
                  </a:xfrm>
                  <a:prstGeom prst="cube">
                    <a:avLst>
                      <a:gd name="adj" fmla="val 71612"/>
                    </a:avLst>
                  </a:prstGeom>
                  <a:solidFill>
                    <a:schemeClr val="bg1"/>
                  </a:solidFill>
                  <a:ln w="3175" cap="flat" cmpd="sng" algn="ctr">
                    <a:solidFill>
                      <a:srgbClr val="899FB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 defTabSz="1219170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de-DE" sz="1333" dirty="0">
                      <a:solidFill>
                        <a:schemeClr val="bg1"/>
                      </a:solidFill>
                      <a:latin typeface="Arial" charset="0"/>
                    </a:endParaRPr>
                  </a:p>
                </p:txBody>
              </p:sp>
            </p:grpSp>
            <p:sp>
              <p:nvSpPr>
                <p:cNvPr id="52" name="Rechteck 51">
                  <a:extLst>
                    <a:ext uri="{FF2B5EF4-FFF2-40B4-BE49-F238E27FC236}">
                      <a16:creationId xmlns:a16="http://schemas.microsoft.com/office/drawing/2014/main" id="{F12131E8-C1D0-4297-B6AD-5364FA9CF0EA}"/>
                    </a:ext>
                  </a:extLst>
                </p:cNvPr>
                <p:cNvSpPr/>
                <p:nvPr/>
              </p:nvSpPr>
              <p:spPr bwMode="auto">
                <a:xfrm rot="2724906">
                  <a:off x="3943302" y="4463103"/>
                  <a:ext cx="1479848" cy="1446887"/>
                </a:xfrm>
                <a:custGeom>
                  <a:avLst/>
                  <a:gdLst>
                    <a:gd name="connsiteX0" fmla="*/ 0 w 1470081"/>
                    <a:gd name="connsiteY0" fmla="*/ 0 h 1027093"/>
                    <a:gd name="connsiteX1" fmla="*/ 1470081 w 1470081"/>
                    <a:gd name="connsiteY1" fmla="*/ 0 h 1027093"/>
                    <a:gd name="connsiteX2" fmla="*/ 1470081 w 1470081"/>
                    <a:gd name="connsiteY2" fmla="*/ 1027093 h 1027093"/>
                    <a:gd name="connsiteX3" fmla="*/ 0 w 1470081"/>
                    <a:gd name="connsiteY3" fmla="*/ 1027093 h 1027093"/>
                    <a:gd name="connsiteX4" fmla="*/ 0 w 1470081"/>
                    <a:gd name="connsiteY4" fmla="*/ 0 h 1027093"/>
                    <a:gd name="connsiteX0" fmla="*/ 0 w 1470081"/>
                    <a:gd name="connsiteY0" fmla="*/ 0 h 1027093"/>
                    <a:gd name="connsiteX1" fmla="*/ 1464541 w 1470081"/>
                    <a:gd name="connsiteY1" fmla="*/ 10143 h 1027093"/>
                    <a:gd name="connsiteX2" fmla="*/ 1470081 w 1470081"/>
                    <a:gd name="connsiteY2" fmla="*/ 1027093 h 1027093"/>
                    <a:gd name="connsiteX3" fmla="*/ 0 w 1470081"/>
                    <a:gd name="connsiteY3" fmla="*/ 1027093 h 1027093"/>
                    <a:gd name="connsiteX4" fmla="*/ 0 w 1470081"/>
                    <a:gd name="connsiteY4" fmla="*/ 0 h 1027093"/>
                    <a:gd name="connsiteX0" fmla="*/ 0 w 1470081"/>
                    <a:gd name="connsiteY0" fmla="*/ 0 h 1027093"/>
                    <a:gd name="connsiteX1" fmla="*/ 1461149 w 1470081"/>
                    <a:gd name="connsiteY1" fmla="*/ 6800 h 1027093"/>
                    <a:gd name="connsiteX2" fmla="*/ 1470081 w 1470081"/>
                    <a:gd name="connsiteY2" fmla="*/ 1027093 h 1027093"/>
                    <a:gd name="connsiteX3" fmla="*/ 0 w 1470081"/>
                    <a:gd name="connsiteY3" fmla="*/ 1027093 h 1027093"/>
                    <a:gd name="connsiteX4" fmla="*/ 0 w 1470081"/>
                    <a:gd name="connsiteY4" fmla="*/ 0 h 1027093"/>
                    <a:gd name="connsiteX0" fmla="*/ 0 w 1470081"/>
                    <a:gd name="connsiteY0" fmla="*/ 0 h 1027093"/>
                    <a:gd name="connsiteX1" fmla="*/ 1458888 w 1470081"/>
                    <a:gd name="connsiteY1" fmla="*/ 4572 h 1027093"/>
                    <a:gd name="connsiteX2" fmla="*/ 1470081 w 1470081"/>
                    <a:gd name="connsiteY2" fmla="*/ 1027093 h 1027093"/>
                    <a:gd name="connsiteX3" fmla="*/ 0 w 1470081"/>
                    <a:gd name="connsiteY3" fmla="*/ 1027093 h 1027093"/>
                    <a:gd name="connsiteX4" fmla="*/ 0 w 1470081"/>
                    <a:gd name="connsiteY4" fmla="*/ 0 h 1027093"/>
                    <a:gd name="connsiteX0" fmla="*/ 0 w 1479858"/>
                    <a:gd name="connsiteY0" fmla="*/ 0 h 1446861"/>
                    <a:gd name="connsiteX1" fmla="*/ 1468665 w 1479858"/>
                    <a:gd name="connsiteY1" fmla="*/ 424340 h 1446861"/>
                    <a:gd name="connsiteX2" fmla="*/ 1479858 w 1479858"/>
                    <a:gd name="connsiteY2" fmla="*/ 1446861 h 1446861"/>
                    <a:gd name="connsiteX3" fmla="*/ 9777 w 1479858"/>
                    <a:gd name="connsiteY3" fmla="*/ 1446861 h 1446861"/>
                    <a:gd name="connsiteX4" fmla="*/ 0 w 1479858"/>
                    <a:gd name="connsiteY4" fmla="*/ 0 h 1446861"/>
                    <a:gd name="connsiteX0" fmla="*/ 0 w 1479858"/>
                    <a:gd name="connsiteY0" fmla="*/ 0 h 1446861"/>
                    <a:gd name="connsiteX1" fmla="*/ 1468665 w 1479858"/>
                    <a:gd name="connsiteY1" fmla="*/ 424340 h 1446861"/>
                    <a:gd name="connsiteX2" fmla="*/ 1479858 w 1479858"/>
                    <a:gd name="connsiteY2" fmla="*/ 1446861 h 1446861"/>
                    <a:gd name="connsiteX3" fmla="*/ 17928 w 1479858"/>
                    <a:gd name="connsiteY3" fmla="*/ 1022473 h 1446861"/>
                    <a:gd name="connsiteX4" fmla="*/ 0 w 1479858"/>
                    <a:gd name="connsiteY4" fmla="*/ 0 h 1446861"/>
                    <a:gd name="connsiteX0" fmla="*/ 0 w 1479858"/>
                    <a:gd name="connsiteY0" fmla="*/ 0 h 1446861"/>
                    <a:gd name="connsiteX1" fmla="*/ 1468665 w 1479858"/>
                    <a:gd name="connsiteY1" fmla="*/ 424340 h 1446861"/>
                    <a:gd name="connsiteX2" fmla="*/ 1479858 w 1479858"/>
                    <a:gd name="connsiteY2" fmla="*/ 1446861 h 1446861"/>
                    <a:gd name="connsiteX3" fmla="*/ 8883 w 1479858"/>
                    <a:gd name="connsiteY3" fmla="*/ 1013558 h 1446861"/>
                    <a:gd name="connsiteX4" fmla="*/ 0 w 1479858"/>
                    <a:gd name="connsiteY4" fmla="*/ 0 h 14468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79858" h="1446861">
                      <a:moveTo>
                        <a:pt x="0" y="0"/>
                      </a:moveTo>
                      <a:lnTo>
                        <a:pt x="1468665" y="424340"/>
                      </a:lnTo>
                      <a:cubicBezTo>
                        <a:pt x="1470512" y="763323"/>
                        <a:pt x="1478011" y="1107878"/>
                        <a:pt x="1479858" y="1446861"/>
                      </a:cubicBezTo>
                      <a:lnTo>
                        <a:pt x="8883" y="101355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3175" cap="flat" cmpd="sng" algn="ctr">
                  <a:solidFill>
                    <a:srgbClr val="899FB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121917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de-DE" sz="1333" dirty="0">
                    <a:solidFill>
                      <a:schemeClr val="bg1"/>
                    </a:solidFill>
                    <a:latin typeface="Arial" charset="0"/>
                  </a:endParaRPr>
                </a:p>
              </p:txBody>
            </p:sp>
            <p:sp>
              <p:nvSpPr>
                <p:cNvPr id="53" name="Rechtwinkliges Dreieck 52">
                  <a:extLst>
                    <a:ext uri="{FF2B5EF4-FFF2-40B4-BE49-F238E27FC236}">
                      <a16:creationId xmlns:a16="http://schemas.microsoft.com/office/drawing/2014/main" id="{5A702003-4A42-46DF-91BB-27B2A35D2279}"/>
                    </a:ext>
                  </a:extLst>
                </p:cNvPr>
                <p:cNvSpPr/>
                <p:nvPr/>
              </p:nvSpPr>
              <p:spPr bwMode="auto">
                <a:xfrm rot="5400000" flipH="1">
                  <a:off x="3648507" y="5182496"/>
                  <a:ext cx="1353456" cy="726783"/>
                </a:xfrm>
                <a:prstGeom prst="rtTriangle">
                  <a:avLst/>
                </a:prstGeom>
                <a:solidFill>
                  <a:schemeClr val="bg1"/>
                </a:solidFill>
                <a:ln w="3175" cap="flat" cmpd="sng" algn="ctr">
                  <a:solidFill>
                    <a:srgbClr val="899FB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121917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de-DE" sz="1333" dirty="0">
                    <a:solidFill>
                      <a:schemeClr val="bg1"/>
                    </a:solidFill>
                    <a:latin typeface="Arial" charset="0"/>
                  </a:endParaRPr>
                </a:p>
              </p:txBody>
            </p:sp>
            <p:sp>
              <p:nvSpPr>
                <p:cNvPr id="54" name="Rechteck 77">
                  <a:extLst>
                    <a:ext uri="{FF2B5EF4-FFF2-40B4-BE49-F238E27FC236}">
                      <a16:creationId xmlns:a16="http://schemas.microsoft.com/office/drawing/2014/main" id="{66A57FEF-6CF8-4742-AB09-40026EEEC17D}"/>
                    </a:ext>
                  </a:extLst>
                </p:cNvPr>
                <p:cNvSpPr/>
                <p:nvPr/>
              </p:nvSpPr>
              <p:spPr bwMode="auto">
                <a:xfrm rot="2655323">
                  <a:off x="3625372" y="3723123"/>
                  <a:ext cx="583886" cy="1578749"/>
                </a:xfrm>
                <a:custGeom>
                  <a:avLst/>
                  <a:gdLst>
                    <a:gd name="connsiteX0" fmla="*/ 0 w 543811"/>
                    <a:gd name="connsiteY0" fmla="*/ 0 h 1001120"/>
                    <a:gd name="connsiteX1" fmla="*/ 543811 w 543811"/>
                    <a:gd name="connsiteY1" fmla="*/ 0 h 1001120"/>
                    <a:gd name="connsiteX2" fmla="*/ 543811 w 543811"/>
                    <a:gd name="connsiteY2" fmla="*/ 1001120 h 1001120"/>
                    <a:gd name="connsiteX3" fmla="*/ 0 w 543811"/>
                    <a:gd name="connsiteY3" fmla="*/ 1001120 h 1001120"/>
                    <a:gd name="connsiteX4" fmla="*/ 0 w 543811"/>
                    <a:gd name="connsiteY4" fmla="*/ 0 h 1001120"/>
                    <a:gd name="connsiteX0" fmla="*/ 0 w 600551"/>
                    <a:gd name="connsiteY0" fmla="*/ 565067 h 1566187"/>
                    <a:gd name="connsiteX1" fmla="*/ 600551 w 600551"/>
                    <a:gd name="connsiteY1" fmla="*/ 0 h 1566187"/>
                    <a:gd name="connsiteX2" fmla="*/ 543811 w 600551"/>
                    <a:gd name="connsiteY2" fmla="*/ 1566187 h 1566187"/>
                    <a:gd name="connsiteX3" fmla="*/ 0 w 600551"/>
                    <a:gd name="connsiteY3" fmla="*/ 1566187 h 1566187"/>
                    <a:gd name="connsiteX4" fmla="*/ 0 w 600551"/>
                    <a:gd name="connsiteY4" fmla="*/ 565067 h 1566187"/>
                    <a:gd name="connsiteX0" fmla="*/ 44023 w 600551"/>
                    <a:gd name="connsiteY0" fmla="*/ 632996 h 1566187"/>
                    <a:gd name="connsiteX1" fmla="*/ 600551 w 600551"/>
                    <a:gd name="connsiteY1" fmla="*/ 0 h 1566187"/>
                    <a:gd name="connsiteX2" fmla="*/ 543811 w 600551"/>
                    <a:gd name="connsiteY2" fmla="*/ 1566187 h 1566187"/>
                    <a:gd name="connsiteX3" fmla="*/ 0 w 600551"/>
                    <a:gd name="connsiteY3" fmla="*/ 1566187 h 1566187"/>
                    <a:gd name="connsiteX4" fmla="*/ 44023 w 600551"/>
                    <a:gd name="connsiteY4" fmla="*/ 632996 h 1566187"/>
                    <a:gd name="connsiteX0" fmla="*/ 24840 w 600551"/>
                    <a:gd name="connsiteY0" fmla="*/ 554162 h 1566187"/>
                    <a:gd name="connsiteX1" fmla="*/ 600551 w 600551"/>
                    <a:gd name="connsiteY1" fmla="*/ 0 h 1566187"/>
                    <a:gd name="connsiteX2" fmla="*/ 543811 w 600551"/>
                    <a:gd name="connsiteY2" fmla="*/ 1566187 h 1566187"/>
                    <a:gd name="connsiteX3" fmla="*/ 0 w 600551"/>
                    <a:gd name="connsiteY3" fmla="*/ 1566187 h 1566187"/>
                    <a:gd name="connsiteX4" fmla="*/ 24840 w 600551"/>
                    <a:gd name="connsiteY4" fmla="*/ 554162 h 1566187"/>
                    <a:gd name="connsiteX0" fmla="*/ 24840 w 600551"/>
                    <a:gd name="connsiteY0" fmla="*/ 554162 h 1566187"/>
                    <a:gd name="connsiteX1" fmla="*/ 600551 w 600551"/>
                    <a:gd name="connsiteY1" fmla="*/ 0 h 1566187"/>
                    <a:gd name="connsiteX2" fmla="*/ 584516 w 600551"/>
                    <a:gd name="connsiteY2" fmla="*/ 1025610 h 1566187"/>
                    <a:gd name="connsiteX3" fmla="*/ 0 w 600551"/>
                    <a:gd name="connsiteY3" fmla="*/ 1566187 h 1566187"/>
                    <a:gd name="connsiteX4" fmla="*/ 24840 w 600551"/>
                    <a:gd name="connsiteY4" fmla="*/ 554162 h 1566187"/>
                    <a:gd name="connsiteX0" fmla="*/ 6997 w 582708"/>
                    <a:gd name="connsiteY0" fmla="*/ 554162 h 1575400"/>
                    <a:gd name="connsiteX1" fmla="*/ 582708 w 582708"/>
                    <a:gd name="connsiteY1" fmla="*/ 0 h 1575400"/>
                    <a:gd name="connsiteX2" fmla="*/ 566673 w 582708"/>
                    <a:gd name="connsiteY2" fmla="*/ 1025610 h 1575400"/>
                    <a:gd name="connsiteX3" fmla="*/ 0 w 582708"/>
                    <a:gd name="connsiteY3" fmla="*/ 1575400 h 1575400"/>
                    <a:gd name="connsiteX4" fmla="*/ 6997 w 582708"/>
                    <a:gd name="connsiteY4" fmla="*/ 554162 h 1575400"/>
                    <a:gd name="connsiteX0" fmla="*/ 16064 w 591775"/>
                    <a:gd name="connsiteY0" fmla="*/ 554162 h 1582017"/>
                    <a:gd name="connsiteX1" fmla="*/ 591775 w 591775"/>
                    <a:gd name="connsiteY1" fmla="*/ 0 h 1582017"/>
                    <a:gd name="connsiteX2" fmla="*/ 575740 w 591775"/>
                    <a:gd name="connsiteY2" fmla="*/ 1025610 h 1582017"/>
                    <a:gd name="connsiteX3" fmla="*/ 0 w 591775"/>
                    <a:gd name="connsiteY3" fmla="*/ 1582017 h 1582017"/>
                    <a:gd name="connsiteX4" fmla="*/ 16064 w 591775"/>
                    <a:gd name="connsiteY4" fmla="*/ 554162 h 1582017"/>
                    <a:gd name="connsiteX0" fmla="*/ 14928 w 590639"/>
                    <a:gd name="connsiteY0" fmla="*/ 554162 h 1580908"/>
                    <a:gd name="connsiteX1" fmla="*/ 590639 w 590639"/>
                    <a:gd name="connsiteY1" fmla="*/ 0 h 1580908"/>
                    <a:gd name="connsiteX2" fmla="*/ 574604 w 590639"/>
                    <a:gd name="connsiteY2" fmla="*/ 1025610 h 1580908"/>
                    <a:gd name="connsiteX3" fmla="*/ 0 w 590639"/>
                    <a:gd name="connsiteY3" fmla="*/ 1580908 h 1580908"/>
                    <a:gd name="connsiteX4" fmla="*/ 14928 w 590639"/>
                    <a:gd name="connsiteY4" fmla="*/ 554162 h 1580908"/>
                    <a:gd name="connsiteX0" fmla="*/ 10438 w 586149"/>
                    <a:gd name="connsiteY0" fmla="*/ 554162 h 1580967"/>
                    <a:gd name="connsiteX1" fmla="*/ 586149 w 586149"/>
                    <a:gd name="connsiteY1" fmla="*/ 0 h 1580967"/>
                    <a:gd name="connsiteX2" fmla="*/ 570114 w 586149"/>
                    <a:gd name="connsiteY2" fmla="*/ 1025610 h 1580967"/>
                    <a:gd name="connsiteX3" fmla="*/ 0 w 586149"/>
                    <a:gd name="connsiteY3" fmla="*/ 1580967 h 1580967"/>
                    <a:gd name="connsiteX4" fmla="*/ 10438 w 586149"/>
                    <a:gd name="connsiteY4" fmla="*/ 554162 h 1580967"/>
                    <a:gd name="connsiteX0" fmla="*/ 10438 w 586149"/>
                    <a:gd name="connsiteY0" fmla="*/ 554162 h 1580967"/>
                    <a:gd name="connsiteX1" fmla="*/ 586149 w 586149"/>
                    <a:gd name="connsiteY1" fmla="*/ 0 h 1580967"/>
                    <a:gd name="connsiteX2" fmla="*/ 575798 w 586149"/>
                    <a:gd name="connsiteY2" fmla="*/ 1020071 h 1580967"/>
                    <a:gd name="connsiteX3" fmla="*/ 0 w 586149"/>
                    <a:gd name="connsiteY3" fmla="*/ 1580967 h 1580967"/>
                    <a:gd name="connsiteX4" fmla="*/ 10438 w 586149"/>
                    <a:gd name="connsiteY4" fmla="*/ 554162 h 1580967"/>
                    <a:gd name="connsiteX0" fmla="*/ 10438 w 586091"/>
                    <a:gd name="connsiteY0" fmla="*/ 549672 h 1576477"/>
                    <a:gd name="connsiteX1" fmla="*/ 586091 w 586091"/>
                    <a:gd name="connsiteY1" fmla="*/ 0 h 1576477"/>
                    <a:gd name="connsiteX2" fmla="*/ 575798 w 586091"/>
                    <a:gd name="connsiteY2" fmla="*/ 1015581 h 1576477"/>
                    <a:gd name="connsiteX3" fmla="*/ 0 w 586091"/>
                    <a:gd name="connsiteY3" fmla="*/ 1576477 h 1576477"/>
                    <a:gd name="connsiteX4" fmla="*/ 10438 w 586091"/>
                    <a:gd name="connsiteY4" fmla="*/ 549672 h 1576477"/>
                    <a:gd name="connsiteX0" fmla="*/ 10438 w 588219"/>
                    <a:gd name="connsiteY0" fmla="*/ 540663 h 1567468"/>
                    <a:gd name="connsiteX1" fmla="*/ 588219 w 588219"/>
                    <a:gd name="connsiteY1" fmla="*/ 0 h 1567468"/>
                    <a:gd name="connsiteX2" fmla="*/ 575798 w 588219"/>
                    <a:gd name="connsiteY2" fmla="*/ 1006572 h 1567468"/>
                    <a:gd name="connsiteX3" fmla="*/ 0 w 588219"/>
                    <a:gd name="connsiteY3" fmla="*/ 1567468 h 1567468"/>
                    <a:gd name="connsiteX4" fmla="*/ 10438 w 588219"/>
                    <a:gd name="connsiteY4" fmla="*/ 540663 h 1567468"/>
                    <a:gd name="connsiteX0" fmla="*/ 10438 w 583875"/>
                    <a:gd name="connsiteY0" fmla="*/ 551945 h 1578750"/>
                    <a:gd name="connsiteX1" fmla="*/ 583875 w 583875"/>
                    <a:gd name="connsiteY1" fmla="*/ 0 h 1578750"/>
                    <a:gd name="connsiteX2" fmla="*/ 575798 w 583875"/>
                    <a:gd name="connsiteY2" fmla="*/ 1017854 h 1578750"/>
                    <a:gd name="connsiteX3" fmla="*/ 0 w 583875"/>
                    <a:gd name="connsiteY3" fmla="*/ 1578750 h 1578750"/>
                    <a:gd name="connsiteX4" fmla="*/ 10438 w 583875"/>
                    <a:gd name="connsiteY4" fmla="*/ 551945 h 1578750"/>
                    <a:gd name="connsiteX0" fmla="*/ 13675 w 583875"/>
                    <a:gd name="connsiteY0" fmla="*/ 562091 h 1578750"/>
                    <a:gd name="connsiteX1" fmla="*/ 583875 w 583875"/>
                    <a:gd name="connsiteY1" fmla="*/ 0 h 1578750"/>
                    <a:gd name="connsiteX2" fmla="*/ 575798 w 583875"/>
                    <a:gd name="connsiteY2" fmla="*/ 1017854 h 1578750"/>
                    <a:gd name="connsiteX3" fmla="*/ 0 w 583875"/>
                    <a:gd name="connsiteY3" fmla="*/ 1578750 h 1578750"/>
                    <a:gd name="connsiteX4" fmla="*/ 13675 w 583875"/>
                    <a:gd name="connsiteY4" fmla="*/ 562091 h 1578750"/>
                    <a:gd name="connsiteX0" fmla="*/ 6970 w 583875"/>
                    <a:gd name="connsiteY0" fmla="*/ 559758 h 1578750"/>
                    <a:gd name="connsiteX1" fmla="*/ 583875 w 583875"/>
                    <a:gd name="connsiteY1" fmla="*/ 0 h 1578750"/>
                    <a:gd name="connsiteX2" fmla="*/ 575798 w 583875"/>
                    <a:gd name="connsiteY2" fmla="*/ 1017854 h 1578750"/>
                    <a:gd name="connsiteX3" fmla="*/ 0 w 583875"/>
                    <a:gd name="connsiteY3" fmla="*/ 1578750 h 1578750"/>
                    <a:gd name="connsiteX4" fmla="*/ 6970 w 583875"/>
                    <a:gd name="connsiteY4" fmla="*/ 559758 h 15787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83875" h="1578750">
                      <a:moveTo>
                        <a:pt x="6970" y="559758"/>
                      </a:moveTo>
                      <a:lnTo>
                        <a:pt x="583875" y="0"/>
                      </a:lnTo>
                      <a:cubicBezTo>
                        <a:pt x="581183" y="339285"/>
                        <a:pt x="578490" y="678569"/>
                        <a:pt x="575798" y="1017854"/>
                      </a:cubicBezTo>
                      <a:lnTo>
                        <a:pt x="0" y="1578750"/>
                      </a:lnTo>
                      <a:cubicBezTo>
                        <a:pt x="2332" y="1238337"/>
                        <a:pt x="4638" y="900171"/>
                        <a:pt x="6970" y="559758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3175" cap="flat" cmpd="sng" algn="ctr">
                  <a:solidFill>
                    <a:srgbClr val="899FB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121917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de-DE" sz="1333" dirty="0">
                    <a:solidFill>
                      <a:schemeClr val="bg1"/>
                    </a:solidFill>
                    <a:latin typeface="Arial" charset="0"/>
                  </a:endParaRPr>
                </a:p>
              </p:txBody>
            </p:sp>
            <p:cxnSp>
              <p:nvCxnSpPr>
                <p:cNvPr id="55" name="Gerader Verbinder 54">
                  <a:extLst>
                    <a:ext uri="{FF2B5EF4-FFF2-40B4-BE49-F238E27FC236}">
                      <a16:creationId xmlns:a16="http://schemas.microsoft.com/office/drawing/2014/main" id="{9B80212E-A728-4265-92CB-F0426473950A}"/>
                    </a:ext>
                  </a:extLst>
                </p:cNvPr>
                <p:cNvCxnSpPr>
                  <a:stCxn id="54" idx="0"/>
                  <a:endCxn id="52" idx="3"/>
                </p:cNvCxnSpPr>
                <p:nvPr/>
              </p:nvCxnSpPr>
              <p:spPr bwMode="auto">
                <a:xfrm>
                  <a:off x="3873453" y="4149173"/>
                  <a:ext cx="89965" cy="720376"/>
                </a:xfrm>
                <a:prstGeom prst="line">
                  <a:avLst/>
                </a:prstGeom>
                <a:solidFill>
                  <a:srgbClr val="DDDDDD"/>
                </a:solidFill>
                <a:ln w="3175" cap="flat" cmpd="sng" algn="ctr">
                  <a:solidFill>
                    <a:srgbClr val="899FB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</p:cxnSp>
            <p:sp>
              <p:nvSpPr>
                <p:cNvPr id="56" name="Rechteck 55">
                  <a:extLst>
                    <a:ext uri="{FF2B5EF4-FFF2-40B4-BE49-F238E27FC236}">
                      <a16:creationId xmlns:a16="http://schemas.microsoft.com/office/drawing/2014/main" id="{0978371D-4E25-4987-967D-4CF92533DD10}"/>
                    </a:ext>
                  </a:extLst>
                </p:cNvPr>
                <p:cNvSpPr/>
                <p:nvPr/>
              </p:nvSpPr>
              <p:spPr bwMode="auto">
                <a:xfrm>
                  <a:off x="3157041" y="4869160"/>
                  <a:ext cx="804803" cy="1353456"/>
                </a:xfrm>
                <a:prstGeom prst="rect">
                  <a:avLst/>
                </a:prstGeom>
                <a:solidFill>
                  <a:schemeClr val="bg1"/>
                </a:solidFill>
                <a:ln w="3175" cap="flat" cmpd="sng" algn="ctr">
                  <a:solidFill>
                    <a:srgbClr val="899FB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121917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de-DE" sz="1333" dirty="0">
                    <a:solidFill>
                      <a:schemeClr val="bg1"/>
                    </a:solidFill>
                    <a:latin typeface="Arial" charset="0"/>
                  </a:endParaRPr>
                </a:p>
              </p:txBody>
            </p:sp>
            <p:cxnSp>
              <p:nvCxnSpPr>
                <p:cNvPr id="57" name="Gerader Verbinder 79">
                  <a:extLst>
                    <a:ext uri="{FF2B5EF4-FFF2-40B4-BE49-F238E27FC236}">
                      <a16:creationId xmlns:a16="http://schemas.microsoft.com/office/drawing/2014/main" id="{FDA98A2D-C0B8-4495-9E48-78CBB6CCC889}"/>
                    </a:ext>
                  </a:extLst>
                </p:cNvPr>
                <p:cNvCxnSpPr>
                  <a:stCxn id="50" idx="4"/>
                  <a:endCxn id="53" idx="2"/>
                </p:cNvCxnSpPr>
                <p:nvPr/>
              </p:nvCxnSpPr>
              <p:spPr bwMode="auto">
                <a:xfrm>
                  <a:off x="3157041" y="4869160"/>
                  <a:ext cx="804803" cy="1353456"/>
                </a:xfrm>
                <a:prstGeom prst="line">
                  <a:avLst/>
                </a:prstGeom>
                <a:solidFill>
                  <a:srgbClr val="DDDDDD"/>
                </a:solidFill>
                <a:ln w="3175" cap="flat" cmpd="sng" algn="ctr">
                  <a:solidFill>
                    <a:srgbClr val="899FB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58" name="Gerader Verbinder 82">
                  <a:extLst>
                    <a:ext uri="{FF2B5EF4-FFF2-40B4-BE49-F238E27FC236}">
                      <a16:creationId xmlns:a16="http://schemas.microsoft.com/office/drawing/2014/main" id="{71C944F2-C08F-494E-B2E2-7845E4532694}"/>
                    </a:ext>
                  </a:extLst>
                </p:cNvPr>
                <p:cNvCxnSpPr>
                  <a:stCxn id="54" idx="1"/>
                  <a:endCxn id="53" idx="0"/>
                </p:cNvCxnSpPr>
                <p:nvPr/>
              </p:nvCxnSpPr>
              <p:spPr bwMode="auto">
                <a:xfrm>
                  <a:off x="4677206" y="4150851"/>
                  <a:ext cx="11327" cy="2071765"/>
                </a:xfrm>
                <a:prstGeom prst="line">
                  <a:avLst/>
                </a:prstGeom>
                <a:solidFill>
                  <a:srgbClr val="DDDDDD"/>
                </a:solidFill>
                <a:ln w="3175" cap="flat" cmpd="sng" algn="ctr">
                  <a:solidFill>
                    <a:srgbClr val="899FB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</p:cxnSp>
          </p:grpSp>
          <p:sp>
            <p:nvSpPr>
              <p:cNvPr id="48" name="Freihandform 27">
                <a:extLst>
                  <a:ext uri="{FF2B5EF4-FFF2-40B4-BE49-F238E27FC236}">
                    <a16:creationId xmlns:a16="http://schemas.microsoft.com/office/drawing/2014/main" id="{9E02CBA5-327D-456A-8119-AF5921B518A5}"/>
                  </a:ext>
                </a:extLst>
              </p:cNvPr>
              <p:cNvSpPr/>
              <p:nvPr/>
            </p:nvSpPr>
            <p:spPr>
              <a:xfrm>
                <a:off x="4647979" y="3283747"/>
                <a:ext cx="759600" cy="1094400"/>
              </a:xfrm>
              <a:custGeom>
                <a:avLst/>
                <a:gdLst>
                  <a:gd name="connsiteX0" fmla="*/ 0 w 765810"/>
                  <a:gd name="connsiteY0" fmla="*/ 384810 h 1102995"/>
                  <a:gd name="connsiteX1" fmla="*/ 379095 w 765810"/>
                  <a:gd name="connsiteY1" fmla="*/ 0 h 1102995"/>
                  <a:gd name="connsiteX2" fmla="*/ 763905 w 765810"/>
                  <a:gd name="connsiteY2" fmla="*/ 710565 h 1102995"/>
                  <a:gd name="connsiteX3" fmla="*/ 765810 w 765810"/>
                  <a:gd name="connsiteY3" fmla="*/ 718185 h 1102995"/>
                  <a:gd name="connsiteX4" fmla="*/ 384810 w 765810"/>
                  <a:gd name="connsiteY4" fmla="*/ 1102995 h 1102995"/>
                  <a:gd name="connsiteX5" fmla="*/ 0 w 765810"/>
                  <a:gd name="connsiteY5" fmla="*/ 384810 h 11029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65810" h="1102995">
                    <a:moveTo>
                      <a:pt x="0" y="384810"/>
                    </a:moveTo>
                    <a:lnTo>
                      <a:pt x="379095" y="0"/>
                    </a:lnTo>
                    <a:lnTo>
                      <a:pt x="763905" y="710565"/>
                    </a:lnTo>
                    <a:lnTo>
                      <a:pt x="765810" y="718185"/>
                    </a:lnTo>
                    <a:lnTo>
                      <a:pt x="384810" y="1102995"/>
                    </a:lnTo>
                    <a:lnTo>
                      <a:pt x="0" y="384810"/>
                    </a:lnTo>
                    <a:close/>
                  </a:path>
                </a:pathLst>
              </a:custGeom>
              <a:solidFill>
                <a:schemeClr val="lt1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e-DE" sz="2133" dirty="0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49" name="Gerader Verbinder 74">
                <a:extLst>
                  <a:ext uri="{FF2B5EF4-FFF2-40B4-BE49-F238E27FC236}">
                    <a16:creationId xmlns:a16="http://schemas.microsoft.com/office/drawing/2014/main" id="{7D0B5287-7410-4BB3-BA59-F4674A0B0752}"/>
                  </a:ext>
                </a:extLst>
              </p:cNvPr>
              <p:cNvCxnSpPr>
                <a:stCxn id="54" idx="1"/>
              </p:cNvCxnSpPr>
              <p:nvPr/>
            </p:nvCxnSpPr>
            <p:spPr bwMode="auto">
              <a:xfrm>
                <a:off x="5022953" y="3280879"/>
                <a:ext cx="6725" cy="1095363"/>
              </a:xfrm>
              <a:prstGeom prst="line">
                <a:avLst/>
              </a:prstGeom>
              <a:solidFill>
                <a:srgbClr val="DDDDDD"/>
              </a:solidFill>
              <a:ln w="3175" cap="flat" cmpd="sng" algn="ctr">
                <a:solidFill>
                  <a:srgbClr val="899FB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</p:grpSp>
        <p:sp>
          <p:nvSpPr>
            <p:cNvPr id="45" name="Pfeil nach rechts 7">
              <a:extLst>
                <a:ext uri="{FF2B5EF4-FFF2-40B4-BE49-F238E27FC236}">
                  <a16:creationId xmlns:a16="http://schemas.microsoft.com/office/drawing/2014/main" id="{55622B31-D85B-4FD8-A9A2-4C35839E2AFE}"/>
                </a:ext>
              </a:extLst>
            </p:cNvPr>
            <p:cNvSpPr/>
            <p:nvPr/>
          </p:nvSpPr>
          <p:spPr>
            <a:xfrm>
              <a:off x="2490107" y="3663684"/>
              <a:ext cx="849086" cy="319281"/>
            </a:xfrm>
            <a:prstGeom prst="rightArrow">
              <a:avLst/>
            </a:prstGeom>
            <a:solidFill>
              <a:schemeClr val="accent3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2133" dirty="0">
                <a:solidFill>
                  <a:schemeClr val="tx1"/>
                </a:solidFill>
              </a:endParaRPr>
            </a:p>
          </p:txBody>
        </p:sp>
        <p:sp>
          <p:nvSpPr>
            <p:cNvPr id="46" name="Pfeil nach rechts 80">
              <a:extLst>
                <a:ext uri="{FF2B5EF4-FFF2-40B4-BE49-F238E27FC236}">
                  <a16:creationId xmlns:a16="http://schemas.microsoft.com/office/drawing/2014/main" id="{409AA1AE-AFCC-4B8B-BB0D-C6C319B6E3EF}"/>
                </a:ext>
              </a:extLst>
            </p:cNvPr>
            <p:cNvSpPr/>
            <p:nvPr/>
          </p:nvSpPr>
          <p:spPr>
            <a:xfrm>
              <a:off x="5199951" y="3671306"/>
              <a:ext cx="849086" cy="319281"/>
            </a:xfrm>
            <a:prstGeom prst="rightArrow">
              <a:avLst/>
            </a:prstGeom>
            <a:solidFill>
              <a:schemeClr val="accent3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2133" dirty="0">
                <a:solidFill>
                  <a:schemeClr val="tx1"/>
                </a:solidFill>
              </a:endParaRPr>
            </a:p>
          </p:txBody>
        </p:sp>
      </p:grpSp>
      <p:cxnSp>
        <p:nvCxnSpPr>
          <p:cNvPr id="71" name="Gerader Verbinder 70">
            <a:extLst>
              <a:ext uri="{FF2B5EF4-FFF2-40B4-BE49-F238E27FC236}">
                <a16:creationId xmlns:a16="http://schemas.microsoft.com/office/drawing/2014/main" id="{57F5DF82-2963-4E5D-8041-F15D1A8FFFBB}"/>
              </a:ext>
            </a:extLst>
          </p:cNvPr>
          <p:cNvCxnSpPr>
            <a:cxnSpLocks/>
            <a:endCxn id="72" idx="1"/>
          </p:cNvCxnSpPr>
          <p:nvPr/>
        </p:nvCxnSpPr>
        <p:spPr>
          <a:xfrm>
            <a:off x="3736184" y="3441336"/>
            <a:ext cx="948855" cy="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2" name="Rechteck 71">
            <a:extLst>
              <a:ext uri="{FF2B5EF4-FFF2-40B4-BE49-F238E27FC236}">
                <a16:creationId xmlns:a16="http://schemas.microsoft.com/office/drawing/2014/main" id="{F2EB2DE2-2ACC-4AEF-BF7B-6B63EE85B684}"/>
              </a:ext>
            </a:extLst>
          </p:cNvPr>
          <p:cNvSpPr/>
          <p:nvPr/>
        </p:nvSpPr>
        <p:spPr>
          <a:xfrm>
            <a:off x="4685039" y="3382442"/>
            <a:ext cx="136120" cy="117787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dirty="0" err="1"/>
          </a:p>
        </p:txBody>
      </p:sp>
      <p:sp>
        <p:nvSpPr>
          <p:cNvPr id="74" name="Textfeld 73">
            <a:extLst>
              <a:ext uri="{FF2B5EF4-FFF2-40B4-BE49-F238E27FC236}">
                <a16:creationId xmlns:a16="http://schemas.microsoft.com/office/drawing/2014/main" id="{E959807B-FFCC-49A0-ABAA-B4D36D272C6C}"/>
              </a:ext>
            </a:extLst>
          </p:cNvPr>
          <p:cNvSpPr txBox="1"/>
          <p:nvPr/>
        </p:nvSpPr>
        <p:spPr>
          <a:xfrm>
            <a:off x="5066657" y="3327923"/>
            <a:ext cx="3595743" cy="11239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600" b="1" dirty="0">
                <a:solidFill>
                  <a:schemeClr val="tx2"/>
                </a:solidFill>
              </a:rPr>
              <a:t>Gestaltungsprinzipien</a:t>
            </a:r>
          </a:p>
          <a:p>
            <a:r>
              <a:rPr lang="de-DE" sz="1400" dirty="0"/>
              <a:t>Möglichkeiten die aus AM resultierenden Gestaltungsfreiheiten auszunutzen und Fertigungsrestriktionen gestalterisch zu umgehen</a:t>
            </a:r>
          </a:p>
          <a:p>
            <a:pPr algn="l"/>
            <a:endParaRPr lang="de-DE" sz="1400" dirty="0">
              <a:solidFill>
                <a:schemeClr val="tx2"/>
              </a:solidFill>
            </a:endParaRPr>
          </a:p>
        </p:txBody>
      </p:sp>
      <p:grpSp>
        <p:nvGrpSpPr>
          <p:cNvPr id="75" name="Gruppieren 74">
            <a:extLst>
              <a:ext uri="{FF2B5EF4-FFF2-40B4-BE49-F238E27FC236}">
                <a16:creationId xmlns:a16="http://schemas.microsoft.com/office/drawing/2014/main" id="{52E047E8-A7A9-429C-802D-60CE9EF1990A}"/>
              </a:ext>
            </a:extLst>
          </p:cNvPr>
          <p:cNvGrpSpPr>
            <a:grpSpLocks noChangeAspect="1"/>
          </p:cNvGrpSpPr>
          <p:nvPr/>
        </p:nvGrpSpPr>
        <p:grpSpPr>
          <a:xfrm>
            <a:off x="10083533" y="3264586"/>
            <a:ext cx="786626" cy="871893"/>
            <a:chOff x="599026" y="2342153"/>
            <a:chExt cx="2957729" cy="3278330"/>
          </a:xfrm>
        </p:grpSpPr>
        <p:grpSp>
          <p:nvGrpSpPr>
            <p:cNvPr id="76" name="Gruppieren 6">
              <a:extLst>
                <a:ext uri="{FF2B5EF4-FFF2-40B4-BE49-F238E27FC236}">
                  <a16:creationId xmlns:a16="http://schemas.microsoft.com/office/drawing/2014/main" id="{57C1EE40-AB14-41C5-B933-A3A52537C9BD}"/>
                </a:ext>
              </a:extLst>
            </p:cNvPr>
            <p:cNvGrpSpPr/>
            <p:nvPr/>
          </p:nvGrpSpPr>
          <p:grpSpPr>
            <a:xfrm>
              <a:off x="599026" y="2342153"/>
              <a:ext cx="1120081" cy="3024273"/>
              <a:chOff x="4623899" y="2086634"/>
              <a:chExt cx="1171523" cy="3163163"/>
            </a:xfrm>
          </p:grpSpPr>
          <p:sp>
            <p:nvSpPr>
              <p:cNvPr id="78" name="Textfeld 77">
                <a:extLst>
                  <a:ext uri="{FF2B5EF4-FFF2-40B4-BE49-F238E27FC236}">
                    <a16:creationId xmlns:a16="http://schemas.microsoft.com/office/drawing/2014/main" id="{DB12F485-03F2-4E26-9869-5EF999FAB08C}"/>
                  </a:ext>
                </a:extLst>
              </p:cNvPr>
              <p:cNvSpPr txBox="1"/>
              <p:nvPr/>
            </p:nvSpPr>
            <p:spPr>
              <a:xfrm rot="16200000">
                <a:off x="3333473" y="3377060"/>
                <a:ext cx="3163163" cy="58231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sz="533" dirty="0">
                    <a:solidFill>
                      <a:schemeClr val="accent5"/>
                    </a:solidFill>
                    <a:cs typeface="Times New Roman" panose="02020603050405020304" pitchFamily="18" charset="0"/>
                  </a:rPr>
                  <a:t>Aufbaurichtung</a:t>
                </a:r>
              </a:p>
            </p:txBody>
          </p:sp>
          <p:grpSp>
            <p:nvGrpSpPr>
              <p:cNvPr id="79" name="Gruppieren 11">
                <a:extLst>
                  <a:ext uri="{FF2B5EF4-FFF2-40B4-BE49-F238E27FC236}">
                    <a16:creationId xmlns:a16="http://schemas.microsoft.com/office/drawing/2014/main" id="{0E35FF39-5871-4A56-8A66-AC5391F53483}"/>
                  </a:ext>
                </a:extLst>
              </p:cNvPr>
              <p:cNvGrpSpPr/>
              <p:nvPr/>
            </p:nvGrpSpPr>
            <p:grpSpPr>
              <a:xfrm>
                <a:off x="5309647" y="4143406"/>
                <a:ext cx="485775" cy="1010728"/>
                <a:chOff x="5276624" y="6967997"/>
                <a:chExt cx="485775" cy="1010728"/>
              </a:xfrm>
            </p:grpSpPr>
            <p:cxnSp>
              <p:nvCxnSpPr>
                <p:cNvPr id="80" name="Gerade Verbindung mit Pfeil 79">
                  <a:extLst>
                    <a:ext uri="{FF2B5EF4-FFF2-40B4-BE49-F238E27FC236}">
                      <a16:creationId xmlns:a16="http://schemas.microsoft.com/office/drawing/2014/main" id="{58450023-04CB-4807-A4B1-C3A1941FA3C7}"/>
                    </a:ext>
                  </a:extLst>
                </p:cNvPr>
                <p:cNvCxnSpPr/>
                <p:nvPr/>
              </p:nvCxnSpPr>
              <p:spPr>
                <a:xfrm flipV="1">
                  <a:off x="5281072" y="6967997"/>
                  <a:ext cx="0" cy="733245"/>
                </a:xfrm>
                <a:prstGeom prst="straightConnector1">
                  <a:avLst/>
                </a:prstGeom>
                <a:ln w="9525">
                  <a:solidFill>
                    <a:schemeClr val="accent5"/>
                  </a:solidFill>
                  <a:headEnd w="sm" len="sm"/>
                  <a:tailEnd type="triangle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1" name="Gerade Verbindung mit Pfeil 80">
                  <a:extLst>
                    <a:ext uri="{FF2B5EF4-FFF2-40B4-BE49-F238E27FC236}">
                      <a16:creationId xmlns:a16="http://schemas.microsoft.com/office/drawing/2014/main" id="{066B70FF-AABA-4BD7-90E3-55C7B40ADAB9}"/>
                    </a:ext>
                  </a:extLst>
                </p:cNvPr>
                <p:cNvCxnSpPr/>
                <p:nvPr/>
              </p:nvCxnSpPr>
              <p:spPr>
                <a:xfrm flipV="1">
                  <a:off x="5276624" y="7431038"/>
                  <a:ext cx="457200" cy="271463"/>
                </a:xfrm>
                <a:prstGeom prst="straightConnector1">
                  <a:avLst/>
                </a:prstGeom>
                <a:ln w="9525">
                  <a:headEnd w="sm" len="sm"/>
                  <a:tailEnd type="triangle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2" name="Gerade Verbindung mit Pfeil 81">
                  <a:extLst>
                    <a:ext uri="{FF2B5EF4-FFF2-40B4-BE49-F238E27FC236}">
                      <a16:creationId xmlns:a16="http://schemas.microsoft.com/office/drawing/2014/main" id="{08D81CE9-DCEB-474D-8807-F6821EC8FB38}"/>
                    </a:ext>
                  </a:extLst>
                </p:cNvPr>
                <p:cNvCxnSpPr/>
                <p:nvPr/>
              </p:nvCxnSpPr>
              <p:spPr>
                <a:xfrm>
                  <a:off x="5281072" y="7701242"/>
                  <a:ext cx="481327" cy="277483"/>
                </a:xfrm>
                <a:prstGeom prst="straightConnector1">
                  <a:avLst/>
                </a:prstGeom>
                <a:ln w="9525">
                  <a:headEnd w="sm" len="sm"/>
                  <a:tailEnd type="triangle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pic>
          <p:nvPicPr>
            <p:cNvPr id="77" name="Grafik 76">
              <a:extLst>
                <a:ext uri="{FF2B5EF4-FFF2-40B4-BE49-F238E27FC236}">
                  <a16:creationId xmlns:a16="http://schemas.microsoft.com/office/drawing/2014/main" id="{A993C52E-6D8F-4D88-A6AB-84439062676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ackgroundRemoval t="3750" b="95156" l="735" r="49522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 r="50289"/>
            <a:stretch/>
          </p:blipFill>
          <p:spPr>
            <a:xfrm>
              <a:off x="1719114" y="3882169"/>
              <a:ext cx="1837641" cy="1738314"/>
            </a:xfrm>
            <a:prstGeom prst="rect">
              <a:avLst/>
            </a:prstGeom>
          </p:spPr>
        </p:pic>
      </p:grpSp>
      <p:grpSp>
        <p:nvGrpSpPr>
          <p:cNvPr id="83" name="Gruppieren 82">
            <a:extLst>
              <a:ext uri="{FF2B5EF4-FFF2-40B4-BE49-F238E27FC236}">
                <a16:creationId xmlns:a16="http://schemas.microsoft.com/office/drawing/2014/main" id="{056796E6-73FC-4EF4-8CC8-42D5661718C6}"/>
              </a:ext>
            </a:extLst>
          </p:cNvPr>
          <p:cNvGrpSpPr>
            <a:grpSpLocks noChangeAspect="1"/>
          </p:cNvGrpSpPr>
          <p:nvPr/>
        </p:nvGrpSpPr>
        <p:grpSpPr>
          <a:xfrm>
            <a:off x="8823596" y="3386737"/>
            <a:ext cx="1066858" cy="871571"/>
            <a:chOff x="4876186" y="2884517"/>
            <a:chExt cx="1068412" cy="872840"/>
          </a:xfrm>
        </p:grpSpPr>
        <p:pic>
          <p:nvPicPr>
            <p:cNvPr id="84" name="Picture 4">
              <a:extLst>
                <a:ext uri="{FF2B5EF4-FFF2-40B4-BE49-F238E27FC236}">
                  <a16:creationId xmlns:a16="http://schemas.microsoft.com/office/drawing/2014/main" id="{EB5DC619-ADB7-4A47-A1CD-0AB3C9A4A95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913980" y="2884517"/>
              <a:ext cx="623519" cy="491724"/>
            </a:xfrm>
            <a:prstGeom prst="rect">
              <a:avLst/>
            </a:prstGeom>
          </p:spPr>
        </p:pic>
        <p:pic>
          <p:nvPicPr>
            <p:cNvPr id="85" name="Grafik 84">
              <a:extLst>
                <a:ext uri="{FF2B5EF4-FFF2-40B4-BE49-F238E27FC236}">
                  <a16:creationId xmlns:a16="http://schemas.microsoft.com/office/drawing/2014/main" id="{1A8DFDB0-3E96-4648-9D58-B702FB1254A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ackgroundRemoval t="10000" b="90000" l="33206" r="68415">
                          <a14:foregroundMark x1="37908" y1="14436" x2="42320" y2="18373"/>
                          <a14:foregroundMark x1="37418" y1="50656" x2="40196" y2="51444"/>
                          <a14:foregroundMark x1="56046" y1="59055" x2="62092" y2="59318"/>
                          <a14:foregroundMark x1="47059" y1="79003" x2="49673" y2="85827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 l="28805" r="27184"/>
            <a:stretch/>
          </p:blipFill>
          <p:spPr>
            <a:xfrm>
              <a:off x="4876186" y="3309968"/>
              <a:ext cx="315037" cy="447389"/>
            </a:xfrm>
            <a:prstGeom prst="rect">
              <a:avLst/>
            </a:prstGeom>
          </p:spPr>
        </p:pic>
        <p:grpSp>
          <p:nvGrpSpPr>
            <p:cNvPr id="86" name="Gruppieren 85">
              <a:extLst>
                <a:ext uri="{FF2B5EF4-FFF2-40B4-BE49-F238E27FC236}">
                  <a16:creationId xmlns:a16="http://schemas.microsoft.com/office/drawing/2014/main" id="{F1BB078E-183D-4262-8E73-EC1F81A90C4E}"/>
                </a:ext>
              </a:extLst>
            </p:cNvPr>
            <p:cNvGrpSpPr/>
            <p:nvPr/>
          </p:nvGrpSpPr>
          <p:grpSpPr>
            <a:xfrm>
              <a:off x="5160157" y="3358649"/>
              <a:ext cx="498417" cy="311511"/>
              <a:chOff x="9727725" y="2387725"/>
              <a:chExt cx="1326275" cy="828923"/>
            </a:xfrm>
          </p:grpSpPr>
          <p:pic>
            <p:nvPicPr>
              <p:cNvPr id="92" name="Grafik 91">
                <a:extLst>
                  <a:ext uri="{FF2B5EF4-FFF2-40B4-BE49-F238E27FC236}">
                    <a16:creationId xmlns:a16="http://schemas.microsoft.com/office/drawing/2014/main" id="{F7796A9A-A134-428C-859F-3A282A29D22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9727725" y="2387725"/>
                <a:ext cx="1326275" cy="828923"/>
              </a:xfrm>
              <a:prstGeom prst="rect">
                <a:avLst/>
              </a:prstGeom>
            </p:spPr>
          </p:pic>
          <p:pic>
            <p:nvPicPr>
              <p:cNvPr id="93" name="Grafik 92">
                <a:extLst>
                  <a:ext uri="{FF2B5EF4-FFF2-40B4-BE49-F238E27FC236}">
                    <a16:creationId xmlns:a16="http://schemas.microsoft.com/office/drawing/2014/main" id="{F78F98DD-91C9-404C-BD5F-B98ABEAED01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9727725" y="2387725"/>
                <a:ext cx="1326275" cy="828923"/>
              </a:xfrm>
              <a:prstGeom prst="rect">
                <a:avLst/>
              </a:prstGeom>
            </p:spPr>
          </p:pic>
          <p:pic>
            <p:nvPicPr>
              <p:cNvPr id="94" name="Grafik 93">
                <a:extLst>
                  <a:ext uri="{FF2B5EF4-FFF2-40B4-BE49-F238E27FC236}">
                    <a16:creationId xmlns:a16="http://schemas.microsoft.com/office/drawing/2014/main" id="{04E40D7C-7253-4C3F-A69E-7FCD401A8A1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9727725" y="2387725"/>
                <a:ext cx="1326275" cy="828923"/>
              </a:xfrm>
              <a:prstGeom prst="rect">
                <a:avLst/>
              </a:prstGeom>
            </p:spPr>
          </p:pic>
          <p:pic>
            <p:nvPicPr>
              <p:cNvPr id="95" name="Grafik 94">
                <a:extLst>
                  <a:ext uri="{FF2B5EF4-FFF2-40B4-BE49-F238E27FC236}">
                    <a16:creationId xmlns:a16="http://schemas.microsoft.com/office/drawing/2014/main" id="{9EF86DD6-F7E5-410B-95C6-404F5A114C9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9727726" y="2387725"/>
                <a:ext cx="1326274" cy="828923"/>
              </a:xfrm>
              <a:prstGeom prst="rect">
                <a:avLst/>
              </a:prstGeom>
            </p:spPr>
          </p:pic>
        </p:grpSp>
        <p:grpSp>
          <p:nvGrpSpPr>
            <p:cNvPr id="87" name="Gruppieren 86">
              <a:extLst>
                <a:ext uri="{FF2B5EF4-FFF2-40B4-BE49-F238E27FC236}">
                  <a16:creationId xmlns:a16="http://schemas.microsoft.com/office/drawing/2014/main" id="{B3A154B7-73F1-4952-BFD8-AF73EA4B7E21}"/>
                </a:ext>
              </a:extLst>
            </p:cNvPr>
            <p:cNvGrpSpPr/>
            <p:nvPr/>
          </p:nvGrpSpPr>
          <p:grpSpPr>
            <a:xfrm>
              <a:off x="5286079" y="2933878"/>
              <a:ext cx="658519" cy="411575"/>
              <a:chOff x="320323" y="3216648"/>
              <a:chExt cx="1752302" cy="1095189"/>
            </a:xfrm>
          </p:grpSpPr>
          <p:pic>
            <p:nvPicPr>
              <p:cNvPr id="88" name="Grafik 87">
                <a:extLst>
                  <a:ext uri="{FF2B5EF4-FFF2-40B4-BE49-F238E27FC236}">
                    <a16:creationId xmlns:a16="http://schemas.microsoft.com/office/drawing/2014/main" id="{EF854F82-5C63-4700-B865-0100917EABC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20323" y="3216648"/>
                <a:ext cx="1752302" cy="1095189"/>
              </a:xfrm>
              <a:prstGeom prst="rect">
                <a:avLst/>
              </a:prstGeom>
            </p:spPr>
          </p:pic>
          <p:pic>
            <p:nvPicPr>
              <p:cNvPr id="89" name="Grafik 88">
                <a:extLst>
                  <a:ext uri="{FF2B5EF4-FFF2-40B4-BE49-F238E27FC236}">
                    <a16:creationId xmlns:a16="http://schemas.microsoft.com/office/drawing/2014/main" id="{2160FA74-6ACF-4E85-A93C-E5B71CD5909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20323" y="3216648"/>
                <a:ext cx="1752302" cy="1095189"/>
              </a:xfrm>
              <a:prstGeom prst="rect">
                <a:avLst/>
              </a:prstGeom>
            </p:spPr>
          </p:pic>
          <p:pic>
            <p:nvPicPr>
              <p:cNvPr id="90" name="Grafik 89">
                <a:extLst>
                  <a:ext uri="{FF2B5EF4-FFF2-40B4-BE49-F238E27FC236}">
                    <a16:creationId xmlns:a16="http://schemas.microsoft.com/office/drawing/2014/main" id="{AF710B07-F873-453B-A111-86BB0F83AAE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20323" y="3216648"/>
                <a:ext cx="1752302" cy="1095189"/>
              </a:xfrm>
              <a:prstGeom prst="rect">
                <a:avLst/>
              </a:prstGeom>
            </p:spPr>
          </p:pic>
          <p:pic>
            <p:nvPicPr>
              <p:cNvPr id="91" name="Grafik 90">
                <a:extLst>
                  <a:ext uri="{FF2B5EF4-FFF2-40B4-BE49-F238E27FC236}">
                    <a16:creationId xmlns:a16="http://schemas.microsoft.com/office/drawing/2014/main" id="{83EE0CB6-34A2-4A49-9E6C-0C08EADB17F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20323" y="3216648"/>
                <a:ext cx="1752302" cy="1095189"/>
              </a:xfrm>
              <a:prstGeom prst="rect">
                <a:avLst/>
              </a:prstGeom>
            </p:spPr>
          </p:pic>
        </p:grpSp>
      </p:grpSp>
      <p:pic>
        <p:nvPicPr>
          <p:cNvPr id="96" name="Grafik 95">
            <a:extLst>
              <a:ext uri="{FF2B5EF4-FFF2-40B4-BE49-F238E27FC236}">
                <a16:creationId xmlns:a16="http://schemas.microsoft.com/office/drawing/2014/main" id="{651C3CFD-7C93-4669-8FF6-9D688CB02D50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80215" y="3527913"/>
            <a:ext cx="488733" cy="461580"/>
          </a:xfrm>
          <a:prstGeom prst="rect">
            <a:avLst/>
          </a:prstGeom>
        </p:spPr>
      </p:pic>
      <p:cxnSp>
        <p:nvCxnSpPr>
          <p:cNvPr id="97" name="Gerader Verbinder 96">
            <a:extLst>
              <a:ext uri="{FF2B5EF4-FFF2-40B4-BE49-F238E27FC236}">
                <a16:creationId xmlns:a16="http://schemas.microsoft.com/office/drawing/2014/main" id="{9D21414A-5C05-4559-A53D-7C0B6D57624D}"/>
              </a:ext>
            </a:extLst>
          </p:cNvPr>
          <p:cNvCxnSpPr>
            <a:cxnSpLocks/>
            <a:endCxn id="98" idx="1"/>
          </p:cNvCxnSpPr>
          <p:nvPr/>
        </p:nvCxnSpPr>
        <p:spPr>
          <a:xfrm>
            <a:off x="4019155" y="4872520"/>
            <a:ext cx="665884" cy="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8" name="Rechteck 97">
            <a:extLst>
              <a:ext uri="{FF2B5EF4-FFF2-40B4-BE49-F238E27FC236}">
                <a16:creationId xmlns:a16="http://schemas.microsoft.com/office/drawing/2014/main" id="{FC53DF74-B3F8-47D4-9CD7-B7C74AA62110}"/>
              </a:ext>
            </a:extLst>
          </p:cNvPr>
          <p:cNvSpPr/>
          <p:nvPr/>
        </p:nvSpPr>
        <p:spPr>
          <a:xfrm>
            <a:off x="4685039" y="4813626"/>
            <a:ext cx="136120" cy="117787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dirty="0" err="1"/>
          </a:p>
        </p:txBody>
      </p:sp>
      <p:sp>
        <p:nvSpPr>
          <p:cNvPr id="100" name="Textfeld 99">
            <a:extLst>
              <a:ext uri="{FF2B5EF4-FFF2-40B4-BE49-F238E27FC236}">
                <a16:creationId xmlns:a16="http://schemas.microsoft.com/office/drawing/2014/main" id="{48AA07EB-AB2B-41CC-8F22-4620E605B0BE}"/>
              </a:ext>
            </a:extLst>
          </p:cNvPr>
          <p:cNvSpPr txBox="1"/>
          <p:nvPr/>
        </p:nvSpPr>
        <p:spPr>
          <a:xfrm>
            <a:off x="5066657" y="4774071"/>
            <a:ext cx="3595743" cy="89255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600" b="1" dirty="0">
                <a:solidFill>
                  <a:schemeClr val="tx2"/>
                </a:solidFill>
              </a:rPr>
              <a:t>Richtwerte</a:t>
            </a:r>
          </a:p>
          <a:p>
            <a:r>
              <a:rPr lang="de-DE" sz="1400" dirty="0"/>
              <a:t>Spezifische Kennwerte für AM Geometrieelemente</a:t>
            </a:r>
          </a:p>
          <a:p>
            <a:pPr algn="l"/>
            <a:endParaRPr lang="de-DE" sz="1400" dirty="0">
              <a:solidFill>
                <a:schemeClr val="tx2"/>
              </a:solidFill>
            </a:endParaRPr>
          </a:p>
        </p:txBody>
      </p:sp>
      <p:grpSp>
        <p:nvGrpSpPr>
          <p:cNvPr id="101" name="Groep 10">
            <a:extLst>
              <a:ext uri="{FF2B5EF4-FFF2-40B4-BE49-F238E27FC236}">
                <a16:creationId xmlns:a16="http://schemas.microsoft.com/office/drawing/2014/main" id="{9A2E0FD4-6401-4397-9CE4-2F8A84A666C7}"/>
              </a:ext>
            </a:extLst>
          </p:cNvPr>
          <p:cNvGrpSpPr>
            <a:grpSpLocks noChangeAspect="1"/>
          </p:cNvGrpSpPr>
          <p:nvPr/>
        </p:nvGrpSpPr>
        <p:grpSpPr>
          <a:xfrm>
            <a:off x="10108816" y="5416047"/>
            <a:ext cx="677771" cy="412352"/>
            <a:chOff x="1552575" y="2332456"/>
            <a:chExt cx="4222026" cy="2568664"/>
          </a:xfrm>
        </p:grpSpPr>
        <p:grpSp>
          <p:nvGrpSpPr>
            <p:cNvPr id="102" name="Groep 27">
              <a:extLst>
                <a:ext uri="{FF2B5EF4-FFF2-40B4-BE49-F238E27FC236}">
                  <a16:creationId xmlns:a16="http://schemas.microsoft.com/office/drawing/2014/main" id="{D23EDF68-9D16-42C6-A478-B0CBBC709CC6}"/>
                </a:ext>
              </a:extLst>
            </p:cNvPr>
            <p:cNvGrpSpPr/>
            <p:nvPr/>
          </p:nvGrpSpPr>
          <p:grpSpPr>
            <a:xfrm>
              <a:off x="2381249" y="2771775"/>
              <a:ext cx="2869894" cy="1238249"/>
              <a:chOff x="2381249" y="2771775"/>
              <a:chExt cx="2869894" cy="1238249"/>
            </a:xfrm>
          </p:grpSpPr>
          <p:sp>
            <p:nvSpPr>
              <p:cNvPr id="109" name="Rechthoek 20">
                <a:extLst>
                  <a:ext uri="{FF2B5EF4-FFF2-40B4-BE49-F238E27FC236}">
                    <a16:creationId xmlns:a16="http://schemas.microsoft.com/office/drawing/2014/main" id="{72BCED4B-D282-456F-A4D8-2BFE5CFD6697}"/>
                  </a:ext>
                </a:extLst>
              </p:cNvPr>
              <p:cNvSpPr/>
              <p:nvPr/>
            </p:nvSpPr>
            <p:spPr>
              <a:xfrm>
                <a:off x="2381249" y="2771775"/>
                <a:ext cx="1876425" cy="247650"/>
              </a:xfrm>
              <a:prstGeom prst="rect">
                <a:avLst/>
              </a:prstGeom>
              <a:solidFill>
                <a:schemeClr val="accent2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21920" tIns="60960" rIns="121920" bIns="6096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de-DE"/>
                </a:defPPr>
                <a:lvl1pPr marL="0" algn="l" defTabSz="957835" rtl="0" eaLnBrk="1" latinLnBrk="0" hangingPunct="1">
                  <a:defRPr sz="19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78917" algn="l" defTabSz="957835" rtl="0" eaLnBrk="1" latinLnBrk="0" hangingPunct="1">
                  <a:defRPr sz="19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57835" algn="l" defTabSz="957835" rtl="0" eaLnBrk="1" latinLnBrk="0" hangingPunct="1">
                  <a:defRPr sz="19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436752" algn="l" defTabSz="957835" rtl="0" eaLnBrk="1" latinLnBrk="0" hangingPunct="1">
                  <a:defRPr sz="19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915669" algn="l" defTabSz="957835" rtl="0" eaLnBrk="1" latinLnBrk="0" hangingPunct="1">
                  <a:defRPr sz="19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394586" algn="l" defTabSz="957835" rtl="0" eaLnBrk="1" latinLnBrk="0" hangingPunct="1">
                  <a:defRPr sz="19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873504" algn="l" defTabSz="957835" rtl="0" eaLnBrk="1" latinLnBrk="0" hangingPunct="1">
                  <a:defRPr sz="19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352421" algn="l" defTabSz="957835" rtl="0" eaLnBrk="1" latinLnBrk="0" hangingPunct="1">
                  <a:defRPr sz="19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831338" algn="l" defTabSz="957835" rtl="0" eaLnBrk="1" latinLnBrk="0" hangingPunct="1">
                  <a:defRPr sz="19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de-DE" sz="933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0" name="Rechthoek 21">
                <a:extLst>
                  <a:ext uri="{FF2B5EF4-FFF2-40B4-BE49-F238E27FC236}">
                    <a16:creationId xmlns:a16="http://schemas.microsoft.com/office/drawing/2014/main" id="{A82E5FE0-1C16-41BD-B8C0-E4E5F183F21E}"/>
                  </a:ext>
                </a:extLst>
              </p:cNvPr>
              <p:cNvSpPr/>
              <p:nvPr/>
            </p:nvSpPr>
            <p:spPr>
              <a:xfrm>
                <a:off x="2631763" y="3019425"/>
                <a:ext cx="1876425" cy="247650"/>
              </a:xfrm>
              <a:prstGeom prst="rect">
                <a:avLst/>
              </a:prstGeom>
              <a:solidFill>
                <a:schemeClr val="accent2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21920" tIns="60960" rIns="121920" bIns="6096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de-DE"/>
                </a:defPPr>
                <a:lvl1pPr marL="0" algn="l" defTabSz="957835" rtl="0" eaLnBrk="1" latinLnBrk="0" hangingPunct="1">
                  <a:defRPr sz="19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78917" algn="l" defTabSz="957835" rtl="0" eaLnBrk="1" latinLnBrk="0" hangingPunct="1">
                  <a:defRPr sz="19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57835" algn="l" defTabSz="957835" rtl="0" eaLnBrk="1" latinLnBrk="0" hangingPunct="1">
                  <a:defRPr sz="19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436752" algn="l" defTabSz="957835" rtl="0" eaLnBrk="1" latinLnBrk="0" hangingPunct="1">
                  <a:defRPr sz="19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915669" algn="l" defTabSz="957835" rtl="0" eaLnBrk="1" latinLnBrk="0" hangingPunct="1">
                  <a:defRPr sz="19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394586" algn="l" defTabSz="957835" rtl="0" eaLnBrk="1" latinLnBrk="0" hangingPunct="1">
                  <a:defRPr sz="19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873504" algn="l" defTabSz="957835" rtl="0" eaLnBrk="1" latinLnBrk="0" hangingPunct="1">
                  <a:defRPr sz="19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352421" algn="l" defTabSz="957835" rtl="0" eaLnBrk="1" latinLnBrk="0" hangingPunct="1">
                  <a:defRPr sz="19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831338" algn="l" defTabSz="957835" rtl="0" eaLnBrk="1" latinLnBrk="0" hangingPunct="1">
                  <a:defRPr sz="19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de-DE" sz="933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1" name="Rechthoek 22">
                <a:extLst>
                  <a:ext uri="{FF2B5EF4-FFF2-40B4-BE49-F238E27FC236}">
                    <a16:creationId xmlns:a16="http://schemas.microsoft.com/office/drawing/2014/main" id="{E52A1BC2-C23C-4CDB-A967-B61DF23546B0}"/>
                  </a:ext>
                </a:extLst>
              </p:cNvPr>
              <p:cNvSpPr/>
              <p:nvPr/>
            </p:nvSpPr>
            <p:spPr>
              <a:xfrm>
                <a:off x="2879415" y="3267075"/>
                <a:ext cx="1876425" cy="247650"/>
              </a:xfrm>
              <a:prstGeom prst="rect">
                <a:avLst/>
              </a:prstGeom>
              <a:solidFill>
                <a:schemeClr val="accent2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21920" tIns="60960" rIns="121920" bIns="6096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de-DE"/>
                </a:defPPr>
                <a:lvl1pPr marL="0" algn="l" defTabSz="957835" rtl="0" eaLnBrk="1" latinLnBrk="0" hangingPunct="1">
                  <a:defRPr sz="19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78917" algn="l" defTabSz="957835" rtl="0" eaLnBrk="1" latinLnBrk="0" hangingPunct="1">
                  <a:defRPr sz="19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57835" algn="l" defTabSz="957835" rtl="0" eaLnBrk="1" latinLnBrk="0" hangingPunct="1">
                  <a:defRPr sz="19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436752" algn="l" defTabSz="957835" rtl="0" eaLnBrk="1" latinLnBrk="0" hangingPunct="1">
                  <a:defRPr sz="19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915669" algn="l" defTabSz="957835" rtl="0" eaLnBrk="1" latinLnBrk="0" hangingPunct="1">
                  <a:defRPr sz="19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394586" algn="l" defTabSz="957835" rtl="0" eaLnBrk="1" latinLnBrk="0" hangingPunct="1">
                  <a:defRPr sz="19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873504" algn="l" defTabSz="957835" rtl="0" eaLnBrk="1" latinLnBrk="0" hangingPunct="1">
                  <a:defRPr sz="19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352421" algn="l" defTabSz="957835" rtl="0" eaLnBrk="1" latinLnBrk="0" hangingPunct="1">
                  <a:defRPr sz="19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831338" algn="l" defTabSz="957835" rtl="0" eaLnBrk="1" latinLnBrk="0" hangingPunct="1">
                  <a:defRPr sz="19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de-DE" sz="933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2" name="Rechthoek 23">
                <a:extLst>
                  <a:ext uri="{FF2B5EF4-FFF2-40B4-BE49-F238E27FC236}">
                    <a16:creationId xmlns:a16="http://schemas.microsoft.com/office/drawing/2014/main" id="{A0661187-1F46-4DF7-BE84-F1FBCEBFFEDF}"/>
                  </a:ext>
                </a:extLst>
              </p:cNvPr>
              <p:cNvSpPr/>
              <p:nvPr/>
            </p:nvSpPr>
            <p:spPr>
              <a:xfrm>
                <a:off x="3127066" y="3514725"/>
                <a:ext cx="1876425" cy="247650"/>
              </a:xfrm>
              <a:prstGeom prst="rect">
                <a:avLst/>
              </a:prstGeom>
              <a:solidFill>
                <a:schemeClr val="accent2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21920" tIns="60960" rIns="121920" bIns="6096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de-DE"/>
                </a:defPPr>
                <a:lvl1pPr marL="0" algn="l" defTabSz="957835" rtl="0" eaLnBrk="1" latinLnBrk="0" hangingPunct="1">
                  <a:defRPr sz="19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78917" algn="l" defTabSz="957835" rtl="0" eaLnBrk="1" latinLnBrk="0" hangingPunct="1">
                  <a:defRPr sz="19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57835" algn="l" defTabSz="957835" rtl="0" eaLnBrk="1" latinLnBrk="0" hangingPunct="1">
                  <a:defRPr sz="19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436752" algn="l" defTabSz="957835" rtl="0" eaLnBrk="1" latinLnBrk="0" hangingPunct="1">
                  <a:defRPr sz="19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915669" algn="l" defTabSz="957835" rtl="0" eaLnBrk="1" latinLnBrk="0" hangingPunct="1">
                  <a:defRPr sz="19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394586" algn="l" defTabSz="957835" rtl="0" eaLnBrk="1" latinLnBrk="0" hangingPunct="1">
                  <a:defRPr sz="19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873504" algn="l" defTabSz="957835" rtl="0" eaLnBrk="1" latinLnBrk="0" hangingPunct="1">
                  <a:defRPr sz="19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352421" algn="l" defTabSz="957835" rtl="0" eaLnBrk="1" latinLnBrk="0" hangingPunct="1">
                  <a:defRPr sz="19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831338" algn="l" defTabSz="957835" rtl="0" eaLnBrk="1" latinLnBrk="0" hangingPunct="1">
                  <a:defRPr sz="19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de-DE" sz="933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3" name="Rechthoek 24">
                <a:extLst>
                  <a:ext uri="{FF2B5EF4-FFF2-40B4-BE49-F238E27FC236}">
                    <a16:creationId xmlns:a16="http://schemas.microsoft.com/office/drawing/2014/main" id="{4C6C6562-3270-4890-94EE-345BAA558E13}"/>
                  </a:ext>
                </a:extLst>
              </p:cNvPr>
              <p:cNvSpPr/>
              <p:nvPr/>
            </p:nvSpPr>
            <p:spPr>
              <a:xfrm>
                <a:off x="3374718" y="3762374"/>
                <a:ext cx="1876425" cy="247650"/>
              </a:xfrm>
              <a:prstGeom prst="rect">
                <a:avLst/>
              </a:prstGeom>
              <a:solidFill>
                <a:schemeClr val="accent2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21920" tIns="60960" rIns="121920" bIns="6096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de-DE"/>
                </a:defPPr>
                <a:lvl1pPr marL="0" algn="l" defTabSz="957835" rtl="0" eaLnBrk="1" latinLnBrk="0" hangingPunct="1">
                  <a:defRPr sz="19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78917" algn="l" defTabSz="957835" rtl="0" eaLnBrk="1" latinLnBrk="0" hangingPunct="1">
                  <a:defRPr sz="19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57835" algn="l" defTabSz="957835" rtl="0" eaLnBrk="1" latinLnBrk="0" hangingPunct="1">
                  <a:defRPr sz="19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436752" algn="l" defTabSz="957835" rtl="0" eaLnBrk="1" latinLnBrk="0" hangingPunct="1">
                  <a:defRPr sz="19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915669" algn="l" defTabSz="957835" rtl="0" eaLnBrk="1" latinLnBrk="0" hangingPunct="1">
                  <a:defRPr sz="19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394586" algn="l" defTabSz="957835" rtl="0" eaLnBrk="1" latinLnBrk="0" hangingPunct="1">
                  <a:defRPr sz="19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873504" algn="l" defTabSz="957835" rtl="0" eaLnBrk="1" latinLnBrk="0" hangingPunct="1">
                  <a:defRPr sz="19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352421" algn="l" defTabSz="957835" rtl="0" eaLnBrk="1" latinLnBrk="0" hangingPunct="1">
                  <a:defRPr sz="19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831338" algn="l" defTabSz="957835" rtl="0" eaLnBrk="1" latinLnBrk="0" hangingPunct="1">
                  <a:defRPr sz="19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de-DE" sz="933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03" name="Rechthoek 14">
              <a:extLst>
                <a:ext uri="{FF2B5EF4-FFF2-40B4-BE49-F238E27FC236}">
                  <a16:creationId xmlns:a16="http://schemas.microsoft.com/office/drawing/2014/main" id="{735CC2E8-607C-4DBE-905F-38F90D6CE424}"/>
                </a:ext>
              </a:extLst>
            </p:cNvPr>
            <p:cNvSpPr/>
            <p:nvPr/>
          </p:nvSpPr>
          <p:spPr>
            <a:xfrm>
              <a:off x="1847849" y="4010024"/>
              <a:ext cx="3926752" cy="790576"/>
            </a:xfrm>
            <a:prstGeom prst="rect">
              <a:avLst/>
            </a:prstGeom>
            <a:solidFill>
              <a:srgbClr val="999999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57835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78917" algn="l" defTabSz="957835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57835" algn="l" defTabSz="957835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436752" algn="l" defTabSz="957835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915669" algn="l" defTabSz="957835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394586" algn="l" defTabSz="957835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873504" algn="l" defTabSz="957835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352421" algn="l" defTabSz="957835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831338" algn="l" defTabSz="957835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e-DE" sz="933" dirty="0">
                <a:solidFill>
                  <a:schemeClr val="tx1"/>
                </a:solidFill>
              </a:endParaRPr>
            </a:p>
          </p:txBody>
        </p:sp>
        <p:sp>
          <p:nvSpPr>
            <p:cNvPr id="104" name="Tekstvak 15">
              <a:extLst>
                <a:ext uri="{FF2B5EF4-FFF2-40B4-BE49-F238E27FC236}">
                  <a16:creationId xmlns:a16="http://schemas.microsoft.com/office/drawing/2014/main" id="{99E0F7F1-4C74-4A16-8B41-1BB56EDE6806}"/>
                </a:ext>
              </a:extLst>
            </p:cNvPr>
            <p:cNvSpPr txBox="1"/>
            <p:nvPr/>
          </p:nvSpPr>
          <p:spPr>
            <a:xfrm>
              <a:off x="1667594" y="2332456"/>
              <a:ext cx="754615" cy="1869230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>
              <a:defPPr>
                <a:defRPr lang="de-DE"/>
              </a:defPPr>
              <a:lvl1pPr marL="0" algn="l" defTabSz="95783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78917" algn="l" defTabSz="95783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57835" algn="l" defTabSz="95783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436752" algn="l" defTabSz="95783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915669" algn="l" defTabSz="95783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394586" algn="l" defTabSz="95783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873504" algn="l" defTabSz="95783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352421" algn="l" defTabSz="95783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31338" algn="l" defTabSz="95783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ts val="2933"/>
                </a:lnSpc>
              </a:pPr>
              <a:r>
                <a:rPr lang="de-DE" sz="933" b="1" dirty="0">
                  <a:solidFill>
                    <a:schemeClr val="accent5"/>
                  </a:solidFill>
                </a:rPr>
                <a:t>α</a:t>
              </a:r>
              <a:r>
                <a:rPr lang="de-DE" sz="933" b="1" baseline="-25000" dirty="0">
                  <a:solidFill>
                    <a:schemeClr val="accent5"/>
                  </a:solidFill>
                </a:rPr>
                <a:t>F</a:t>
              </a:r>
            </a:p>
          </p:txBody>
        </p:sp>
        <p:grpSp>
          <p:nvGrpSpPr>
            <p:cNvPr id="105" name="Groep 26">
              <a:extLst>
                <a:ext uri="{FF2B5EF4-FFF2-40B4-BE49-F238E27FC236}">
                  <a16:creationId xmlns:a16="http://schemas.microsoft.com/office/drawing/2014/main" id="{341F395D-3C77-4BD5-80B4-B7931C769DFB}"/>
                </a:ext>
              </a:extLst>
            </p:cNvPr>
            <p:cNvGrpSpPr/>
            <p:nvPr/>
          </p:nvGrpSpPr>
          <p:grpSpPr>
            <a:xfrm>
              <a:off x="1552575" y="2619375"/>
              <a:ext cx="2678657" cy="2281745"/>
              <a:chOff x="1552575" y="2619375"/>
              <a:chExt cx="2678657" cy="2281745"/>
            </a:xfrm>
          </p:grpSpPr>
          <p:cxnSp>
            <p:nvCxnSpPr>
              <p:cNvPr id="106" name="Rechte verbindingslijn 17">
                <a:extLst>
                  <a:ext uri="{FF2B5EF4-FFF2-40B4-BE49-F238E27FC236}">
                    <a16:creationId xmlns:a16="http://schemas.microsoft.com/office/drawing/2014/main" id="{AB23B45E-5383-4445-AE70-F092A91C03A9}"/>
                  </a:ext>
                </a:extLst>
              </p:cNvPr>
              <p:cNvCxnSpPr/>
              <p:nvPr/>
            </p:nvCxnSpPr>
            <p:spPr>
              <a:xfrm>
                <a:off x="1971675" y="2619375"/>
                <a:ext cx="1403043" cy="1390649"/>
              </a:xfrm>
              <a:prstGeom prst="line">
                <a:avLst/>
              </a:prstGeom>
              <a:ln w="15875"/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cxnSp>
            <p:nvCxnSpPr>
              <p:cNvPr id="107" name="Rechte verbindingslijn 18">
                <a:extLst>
                  <a:ext uri="{FF2B5EF4-FFF2-40B4-BE49-F238E27FC236}">
                    <a16:creationId xmlns:a16="http://schemas.microsoft.com/office/drawing/2014/main" id="{C29BD9FB-3698-4713-A1B5-487C171DBCD9}"/>
                  </a:ext>
                </a:extLst>
              </p:cNvPr>
              <p:cNvCxnSpPr/>
              <p:nvPr/>
            </p:nvCxnSpPr>
            <p:spPr>
              <a:xfrm flipH="1">
                <a:off x="1552575" y="4010024"/>
                <a:ext cx="1822143" cy="0"/>
              </a:xfrm>
              <a:prstGeom prst="line">
                <a:avLst/>
              </a:prstGeom>
              <a:ln w="15875"/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sp>
            <p:nvSpPr>
              <p:cNvPr id="108" name="Boog 19">
                <a:extLst>
                  <a:ext uri="{FF2B5EF4-FFF2-40B4-BE49-F238E27FC236}">
                    <a16:creationId xmlns:a16="http://schemas.microsoft.com/office/drawing/2014/main" id="{98FC4A85-E3D9-401D-BF3E-40ECC5B1C5BE}"/>
                  </a:ext>
                </a:extLst>
              </p:cNvPr>
              <p:cNvSpPr/>
              <p:nvPr/>
            </p:nvSpPr>
            <p:spPr>
              <a:xfrm rot="14576570">
                <a:off x="2399685" y="3069573"/>
                <a:ext cx="1805720" cy="1857374"/>
              </a:xfrm>
              <a:prstGeom prst="arc">
                <a:avLst>
                  <a:gd name="adj1" fmla="val 17706764"/>
                  <a:gd name="adj2" fmla="val 20681385"/>
                </a:avLst>
              </a:prstGeom>
              <a:ln w="15875"/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  <p:txBody>
              <a:bodyPr rtlCol="0" anchor="ctr"/>
              <a:lstStyle>
                <a:defPPr>
                  <a:defRPr lang="de-DE"/>
                </a:defPPr>
                <a:lvl1pPr marL="0" algn="l" defTabSz="957835" rtl="0" eaLnBrk="1" latinLnBrk="0" hangingPunct="1">
                  <a:defRPr sz="1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78917" algn="l" defTabSz="957835" rtl="0" eaLnBrk="1" latinLnBrk="0" hangingPunct="1">
                  <a:defRPr sz="1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57835" algn="l" defTabSz="957835" rtl="0" eaLnBrk="1" latinLnBrk="0" hangingPunct="1">
                  <a:defRPr sz="1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436752" algn="l" defTabSz="957835" rtl="0" eaLnBrk="1" latinLnBrk="0" hangingPunct="1">
                  <a:defRPr sz="1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915669" algn="l" defTabSz="957835" rtl="0" eaLnBrk="1" latinLnBrk="0" hangingPunct="1">
                  <a:defRPr sz="1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394586" algn="l" defTabSz="957835" rtl="0" eaLnBrk="1" latinLnBrk="0" hangingPunct="1">
                  <a:defRPr sz="1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873504" algn="l" defTabSz="957835" rtl="0" eaLnBrk="1" latinLnBrk="0" hangingPunct="1">
                  <a:defRPr sz="1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352421" algn="l" defTabSz="957835" rtl="0" eaLnBrk="1" latinLnBrk="0" hangingPunct="1">
                  <a:defRPr sz="1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31338" algn="l" defTabSz="957835" rtl="0" eaLnBrk="1" latinLnBrk="0" hangingPunct="1">
                  <a:defRPr sz="1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de-DE" sz="1200" dirty="0"/>
              </a:p>
            </p:txBody>
          </p:sp>
        </p:grpSp>
      </p:grpSp>
      <p:graphicFrame>
        <p:nvGraphicFramePr>
          <p:cNvPr id="114" name="Tabelle 113">
            <a:extLst>
              <a:ext uri="{FF2B5EF4-FFF2-40B4-BE49-F238E27FC236}">
                <a16:creationId xmlns:a16="http://schemas.microsoft.com/office/drawing/2014/main" id="{35D5F45B-D11D-40E9-B1C7-018FF796CA0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28127344"/>
              </p:ext>
            </p:extLst>
          </p:nvPr>
        </p:nvGraphicFramePr>
        <p:xfrm>
          <a:off x="8971383" y="4743619"/>
          <a:ext cx="2589445" cy="39948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86525">
                  <a:extLst>
                    <a:ext uri="{9D8B030D-6E8A-4147-A177-3AD203B41FA5}">
                      <a16:colId xmlns:a16="http://schemas.microsoft.com/office/drawing/2014/main" val="860224501"/>
                    </a:ext>
                  </a:extLst>
                </a:gridCol>
                <a:gridCol w="822104">
                  <a:extLst>
                    <a:ext uri="{9D8B030D-6E8A-4147-A177-3AD203B41FA5}">
                      <a16:colId xmlns:a16="http://schemas.microsoft.com/office/drawing/2014/main" val="2643784888"/>
                    </a:ext>
                  </a:extLst>
                </a:gridCol>
                <a:gridCol w="780816">
                  <a:extLst>
                    <a:ext uri="{9D8B030D-6E8A-4147-A177-3AD203B41FA5}">
                      <a16:colId xmlns:a16="http://schemas.microsoft.com/office/drawing/2014/main" val="3816538191"/>
                    </a:ext>
                  </a:extLst>
                </a:gridCol>
              </a:tblGrid>
              <a:tr h="183179">
                <a:tc>
                  <a:txBody>
                    <a:bodyPr/>
                    <a:lstStyle/>
                    <a:p>
                      <a:pPr algn="ctr"/>
                      <a:endParaRPr lang="de-DE" sz="700" dirty="0">
                        <a:solidFill>
                          <a:schemeClr val="tx1"/>
                        </a:solidFill>
                      </a:endParaRPr>
                    </a:p>
                  </a:txBody>
                  <a:tcPr marL="53183" marR="53183" marT="26591" marB="26591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>
                          <a:solidFill>
                            <a:schemeClr val="tx1"/>
                          </a:solidFill>
                        </a:rPr>
                        <a:t>TruPrint 1000</a:t>
                      </a:r>
                    </a:p>
                  </a:txBody>
                  <a:tcPr marL="53183" marR="53183" marT="26591" marB="2659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>
                          <a:solidFill>
                            <a:schemeClr val="tx1"/>
                          </a:solidFill>
                        </a:rPr>
                        <a:t>TruPrint 3000</a:t>
                      </a:r>
                    </a:p>
                  </a:txBody>
                  <a:tcPr marL="53183" marR="53183" marT="26591" marB="2659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864022"/>
                  </a:ext>
                </a:extLst>
              </a:tr>
              <a:tr h="2163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>
                          <a:solidFill>
                            <a:schemeClr val="tx1"/>
                          </a:solidFill>
                        </a:rPr>
                        <a:t>Alle Materialien</a:t>
                      </a:r>
                    </a:p>
                  </a:txBody>
                  <a:tcPr marL="53183" marR="53183" marT="26591" marB="26591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dirty="0">
                          <a:solidFill>
                            <a:schemeClr val="tx1"/>
                          </a:solidFill>
                        </a:rPr>
                        <a:t>45°</a:t>
                      </a:r>
                    </a:p>
                  </a:txBody>
                  <a:tcPr marL="53183" marR="53183" marT="26591" marB="2659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dirty="0">
                          <a:solidFill>
                            <a:schemeClr val="tx1"/>
                          </a:solidFill>
                        </a:rPr>
                        <a:t>45°</a:t>
                      </a:r>
                    </a:p>
                  </a:txBody>
                  <a:tcPr marL="53183" marR="53183" marT="26591" marB="2659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1159393"/>
                  </a:ext>
                </a:extLst>
              </a:tr>
            </a:tbl>
          </a:graphicData>
        </a:graphic>
      </p:graphicFrame>
      <p:sp>
        <p:nvSpPr>
          <p:cNvPr id="115" name="Textfeld 114">
            <a:extLst>
              <a:ext uri="{FF2B5EF4-FFF2-40B4-BE49-F238E27FC236}">
                <a16:creationId xmlns:a16="http://schemas.microsoft.com/office/drawing/2014/main" id="{96AAAE5B-2FA5-4A91-A880-40D9849FDCA5}"/>
              </a:ext>
            </a:extLst>
          </p:cNvPr>
          <p:cNvSpPr txBox="1"/>
          <p:nvPr/>
        </p:nvSpPr>
        <p:spPr>
          <a:xfrm>
            <a:off x="9503704" y="4465689"/>
            <a:ext cx="2004216" cy="2352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1" dirty="0"/>
              <a:t>z.B. Freiwinkel</a:t>
            </a:r>
          </a:p>
        </p:txBody>
      </p:sp>
      <p:sp>
        <p:nvSpPr>
          <p:cNvPr id="116" name="Textfeld 115">
            <a:extLst>
              <a:ext uri="{FF2B5EF4-FFF2-40B4-BE49-F238E27FC236}">
                <a16:creationId xmlns:a16="http://schemas.microsoft.com/office/drawing/2014/main" id="{8BB2431A-115F-4EA0-B10A-15981EE58BF1}"/>
              </a:ext>
            </a:extLst>
          </p:cNvPr>
          <p:cNvSpPr txBox="1"/>
          <p:nvPr/>
        </p:nvSpPr>
        <p:spPr>
          <a:xfrm>
            <a:off x="9503704" y="3172585"/>
            <a:ext cx="2172361" cy="2352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1" dirty="0"/>
              <a:t>z.B. Funktionsorientierung</a:t>
            </a:r>
          </a:p>
        </p:txBody>
      </p:sp>
      <p:sp>
        <p:nvSpPr>
          <p:cNvPr id="117" name="Textfeld 116">
            <a:extLst>
              <a:ext uri="{FF2B5EF4-FFF2-40B4-BE49-F238E27FC236}">
                <a16:creationId xmlns:a16="http://schemas.microsoft.com/office/drawing/2014/main" id="{2E58BA40-6A66-408C-9907-B3BD3E1A5E06}"/>
              </a:ext>
            </a:extLst>
          </p:cNvPr>
          <p:cNvSpPr txBox="1"/>
          <p:nvPr/>
        </p:nvSpPr>
        <p:spPr>
          <a:xfrm>
            <a:off x="5760615" y="2416894"/>
            <a:ext cx="2057127" cy="2352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1" dirty="0"/>
              <a:t>z.B. Schichtweiser Aufbau</a:t>
            </a:r>
          </a:p>
        </p:txBody>
      </p:sp>
    </p:spTree>
    <p:extLst>
      <p:ext uri="{BB962C8B-B14F-4D97-AF65-F5344CB8AC3E}">
        <p14:creationId xmlns:p14="http://schemas.microsoft.com/office/powerpoint/2010/main" val="24379789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MIO_CHANGETRACKING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517ba038-093a-4003-8103-c2c49f313e9f"/>
  <p:tag name="MIO_EKGUID" val="567239fd-5ca3-4cb8-8867-588870f59777"/>
  <p:tag name="MIO_UPDATE" val="True"/>
  <p:tag name="MIO_VERSION" val="27.03.2019 12:36:27"/>
  <p:tag name="MIO_DBID" val="8236CE71-3243-41A3-904F-7EA9E80C736A"/>
  <p:tag name="MIO_LASTDOWNLOADED" val="03.05.2022 12:06:36.734"/>
  <p:tag name="MIO_OBJECTNAME" val="Hauptpforte"/>
  <p:tag name="MIO_LASTEDITORNAME" val="empower Brandin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517ba038-093a-4003-8103-c2c49f313e9f"/>
  <p:tag name="MIO_EKGUID" val="567239fd-5ca3-4cb8-8867-588870f59777"/>
  <p:tag name="MIO_UPDATE" val="True"/>
  <p:tag name="MIO_VERSION" val="27.03.2019 12:36:27"/>
  <p:tag name="MIO_DBID" val="8236CE71-3243-41A3-904F-7EA9E80C736A"/>
  <p:tag name="MIO_LASTDOWNLOADED" val="03.05.2022 12:06:36.734"/>
  <p:tag name="MIO_OBJECTNAME" val="Hauptpforte"/>
  <p:tag name="MIO_LASTEDITORNAME" val="empower Brandin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ccfc268f-6dae-4ed3-8e6e-6348952b1a4a"/>
  <p:tag name="MIO_GUID" val="e25fb186-9147-412f-9369-1b6adc0e9a73"/>
  <p:tag name="MIO_UPDATE" val="True"/>
  <p:tag name="MIO_VERSION" val="14.03.2023 13:57:02"/>
  <p:tag name="MIO_DBID" val="8236CE71-3243-41A3-904F-7EA9E80C736A"/>
  <p:tag name="MIO_LASTDOWNLOADED" val="20.04.2023 14:21:38.421"/>
  <p:tag name="MIO_OBJECTNAME" val="Additive LMD"/>
  <p:tag name="MIO_LASTEDITORNAME" val="empower Brandin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ccfc268f-6dae-4ed3-8e6e-6348952b1a4a"/>
  <p:tag name="MIO_GUID" val="74d3fb2f-fb20-4b07-9d94-6bd70fb2cad0"/>
  <p:tag name="MIO_UPDATE" val="True"/>
  <p:tag name="MIO_VERSION" val="14.03.2023 13:57:02"/>
  <p:tag name="MIO_DBID" val="8236CE71-3243-41A3-904F-7EA9E80C736A"/>
  <p:tag name="MIO_LASTDOWNLOADED" val="17.04.2023 14:02:18.994"/>
  <p:tag name="MIO_OBJECTNAME" val="Additive LMD"/>
  <p:tag name="MIO_LASTEDITORNAME" val="empower Brandin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e3a27e9-ac10-40f5-8162-f01cd84dd6f6"/>
  <p:tag name="MIO_EKGUID" val="ac9ed515-f706-4e82-b947-4f4660f22d16"/>
  <p:tag name="MIO_UPDATE" val="True"/>
  <p:tag name="MIO_VERSION" val="27.02.2019 07:32:23"/>
  <p:tag name="MIO_DBID" val="8236CE71-3243-41A3-904F-7EA9E80C736A"/>
  <p:tag name="MIO_LASTDOWNLOADED" val="29.09.2021 13:35:05"/>
  <p:tag name="MIO_OBJECTNAME" val="Bild 3"/>
  <p:tag name="MIO_LASTEDITORNAME" val="empower enterpris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SHOW_DATE" val="True"/>
  <p:tag name="MIO_SHOW_FOOTER" val="True"/>
  <p:tag name="MIO_SHOW_PAGENUMBER" val="True"/>
  <p:tag name="MIO_AVOID_BLANK_LAYOUT" val="True"/>
  <p:tag name="MIO_CD_LAYOUT_VALID_AREA" val="False"/>
  <p:tag name="MIO_EMBED_FONT" val="False"/>
  <p:tag name="MIO_MATCH_COLOR_SCHEME" val="False"/>
  <p:tag name="MIO_HDS" val="True"/>
  <p:tag name="MIO_SKIPVERSION" val="01.01.0001 00:00:00"/>
  <p:tag name="MIO_UPDATE" val="True"/>
  <p:tag name="MIO_DBID" val="8236CE71-3243-41A3-904F-7EA9E80C736A"/>
  <p:tag name="MIO_LASTEDITORNAME" val="Katharina Kampen"/>
  <p:tag name="MIO_FALLBACK_LAYOUT" val="6"/>
  <p:tag name="MIO_NUMBER_OF_VALID_LAYOUTS" val="27"/>
  <p:tag name="MIO_EKGUID" val="aa0866db-8b1e-4441-9074-4271c62d3953"/>
  <p:tag name="MIO_VERSION" val="06.12.2022 13:56:25"/>
  <p:tag name="MIO_OBJECTNAME" val="TRUMPF Signet - 100 years DE | EN"/>
  <p:tag name="MIO_LASTDOWNLOADED" val="13.04.2023 13:53:28.423"/>
  <p:tag name="MIO_CDID" val="d30371fb-bd2b-4816-a0ce-bd6a1479ab6b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d7ab1ed-de0f-4d6f-b0c1-053888d5bda4"/>
  <p:tag name="MIO_EKGUID" val="93221168-736f-4397-bf67-c48a0f78bbdc"/>
  <p:tag name="MIO_UPDATE" val="True"/>
  <p:tag name="MIO_VERSION" val="26.11.2021 10:07:25"/>
  <p:tag name="MIO_DBID" val="8236CE71-3243-41A3-904F-7EA9E80C736A"/>
  <p:tag name="MIO_LASTDOWNLOADED" val="20.04.2023 17:06:06.056"/>
  <p:tag name="MIO_OBJECTNAME" val="Takeaway"/>
  <p:tag name="MIO_LASTEDITORNAME" val="empower Brandin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d7ab1ed-de0f-4d6f-b0c1-053888d5bda4"/>
  <p:tag name="MIO_EKGUID" val="93221168-736f-4397-bf67-c48a0f78bbdc"/>
  <p:tag name="MIO_UPDATE" val="True"/>
  <p:tag name="MIO_VERSION" val="26.11.2021 10:07:25"/>
  <p:tag name="MIO_DBID" val="8236CE71-3243-41A3-904F-7EA9E80C736A"/>
  <p:tag name="MIO_LASTDOWNLOADED" val="20.04.2023 17:06:06.056"/>
  <p:tag name="MIO_OBJECTNAME" val="Takeaway"/>
  <p:tag name="MIO_LASTEDITORNAME" val="empower Brandin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d7ab1ed-de0f-4d6f-b0c1-053888d5bda4"/>
  <p:tag name="MIO_EKGUID" val="93221168-736f-4397-bf67-c48a0f78bbdc"/>
  <p:tag name="MIO_UPDATE" val="True"/>
  <p:tag name="MIO_VERSION" val="26.11.2021 10:07:25"/>
  <p:tag name="MIO_DBID" val="8236CE71-3243-41A3-904F-7EA9E80C736A"/>
  <p:tag name="MIO_LASTDOWNLOADED" val="20.04.2023 17:06:06.056"/>
  <p:tag name="MIO_OBJECTNAME" val="Takeaway"/>
  <p:tag name="MIO_LASTEDITORNAME" val="empower Brandin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d7ab1ed-de0f-4d6f-b0c1-053888d5bda4"/>
  <p:tag name="MIO_EKGUID" val="93221168-736f-4397-bf67-c48a0f78bbdc"/>
  <p:tag name="MIO_UPDATE" val="True"/>
  <p:tag name="MIO_VERSION" val="26.11.2021 10:07:25"/>
  <p:tag name="MIO_DBID" val="8236CE71-3243-41A3-904F-7EA9E80C736A"/>
  <p:tag name="MIO_LASTDOWNLOADED" val="20.04.2023 17:06:06.056"/>
  <p:tag name="MIO_OBJECTNAME" val="Takeaway"/>
  <p:tag name="MIO_LASTEDITORNAME" val="empower Brandin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d7ab1ed-de0f-4d6f-b0c1-053888d5bda4"/>
  <p:tag name="MIO_EKGUID" val="93221168-736f-4397-bf67-c48a0f78bbdc"/>
  <p:tag name="MIO_UPDATE" val="True"/>
  <p:tag name="MIO_VERSION" val="26.11.2021 10:07:25"/>
  <p:tag name="MIO_DBID" val="8236CE71-3243-41A3-904F-7EA9E80C736A"/>
  <p:tag name="MIO_LASTDOWNLOADED" val="20.04.2023 17:06:06.056"/>
  <p:tag name="MIO_OBJECTNAME" val="Takeaway"/>
  <p:tag name="MIO_LASTEDITORNAME" val="empower Brandin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d7ab1ed-de0f-4d6f-b0c1-053888d5bda4"/>
  <p:tag name="MIO_EKGUID" val="93221168-736f-4397-bf67-c48a0f78bbdc"/>
  <p:tag name="MIO_UPDATE" val="True"/>
  <p:tag name="MIO_VERSION" val="26.11.2021 10:07:25"/>
  <p:tag name="MIO_DBID" val="8236CE71-3243-41A3-904F-7EA9E80C736A"/>
  <p:tag name="MIO_LASTDOWNLOADED" val="20.04.2023 17:06:06.056"/>
  <p:tag name="MIO_OBJECTNAME" val="Takeaway"/>
  <p:tag name="MIO_LASTEDITORNAME" val="empower Brandin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rumpf PowerPoint 2019">
  <a:themeElements>
    <a:clrScheme name="Trumpf dezent">
      <a:dk1>
        <a:srgbClr val="333333"/>
      </a:dk1>
      <a:lt1>
        <a:srgbClr val="FFFFFF"/>
      </a:lt1>
      <a:dk2>
        <a:srgbClr val="285172"/>
      </a:dk2>
      <a:lt2>
        <a:srgbClr val="FFFFFF"/>
      </a:lt2>
      <a:accent1>
        <a:srgbClr val="575757"/>
      </a:accent1>
      <a:accent2>
        <a:srgbClr val="D0D0D0"/>
      </a:accent2>
      <a:accent3>
        <a:srgbClr val="285172"/>
      </a:accent3>
      <a:accent4>
        <a:srgbClr val="8094AF"/>
      </a:accent4>
      <a:accent5>
        <a:srgbClr val="BBD03A"/>
      </a:accent5>
      <a:accent6>
        <a:srgbClr val="6C955E"/>
      </a:accent6>
      <a:hlink>
        <a:srgbClr val="204461"/>
      </a:hlink>
      <a:folHlink>
        <a:srgbClr val="638EBD"/>
      </a:folHlink>
    </a:clrScheme>
    <a:fontScheme name="Benutzerdefiniert 1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lIns="72000" tIns="72000" rIns="72000" bIns="72000" rtlCol="0" anchor="ctr"/>
      <a:lstStyle>
        <a:defPPr algn="ctr">
          <a:defRPr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>
              <a:lumMod val="60000"/>
              <a:lumOff val="4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/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" id="{D746A209-D3A0-42EF-988A-4829135B642B}" vid="{7DF3D1B1-4C56-472B-9565-3D7A511C20EB}"/>
    </a:ext>
  </a:extLst>
</a:theme>
</file>

<file path=ppt/theme/theme2.xml><?xml version="1.0" encoding="utf-8"?>
<a:theme xmlns:a="http://schemas.openxmlformats.org/drawingml/2006/main" name="Office">
  <a:themeElements>
    <a:clrScheme name="Trumpf">
      <a:dk1>
        <a:srgbClr val="333333"/>
      </a:dk1>
      <a:lt1>
        <a:srgbClr val="FFFFFF"/>
      </a:lt1>
      <a:dk2>
        <a:srgbClr val="204461"/>
      </a:dk2>
      <a:lt2>
        <a:srgbClr val="FFFFFF"/>
      </a:lt2>
      <a:accent1>
        <a:srgbClr val="707070"/>
      </a:accent1>
      <a:accent2>
        <a:srgbClr val="D0D0D0"/>
      </a:accent2>
      <a:accent3>
        <a:srgbClr val="204461"/>
      </a:accent3>
      <a:accent4>
        <a:srgbClr val="638EBD"/>
      </a:accent4>
      <a:accent5>
        <a:srgbClr val="93C11C"/>
      </a:accent5>
      <a:accent6>
        <a:srgbClr val="6C955E"/>
      </a:accent6>
      <a:hlink>
        <a:srgbClr val="204461"/>
      </a:hlink>
      <a:folHlink>
        <a:srgbClr val="638EBD"/>
      </a:folHlink>
    </a:clrScheme>
    <a:fontScheme name="Benutzerdefiniert 1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Trumpf">
      <a:dk1>
        <a:srgbClr val="333333"/>
      </a:dk1>
      <a:lt1>
        <a:srgbClr val="FFFFFF"/>
      </a:lt1>
      <a:dk2>
        <a:srgbClr val="204461"/>
      </a:dk2>
      <a:lt2>
        <a:srgbClr val="FFFFFF"/>
      </a:lt2>
      <a:accent1>
        <a:srgbClr val="707070"/>
      </a:accent1>
      <a:accent2>
        <a:srgbClr val="D0D0D0"/>
      </a:accent2>
      <a:accent3>
        <a:srgbClr val="204461"/>
      </a:accent3>
      <a:accent4>
        <a:srgbClr val="638EBD"/>
      </a:accent4>
      <a:accent5>
        <a:srgbClr val="93C11C"/>
      </a:accent5>
      <a:accent6>
        <a:srgbClr val="6C955E"/>
      </a:accent6>
      <a:hlink>
        <a:srgbClr val="204461"/>
      </a:hlink>
      <a:folHlink>
        <a:srgbClr val="638EBD"/>
      </a:folHlink>
    </a:clrScheme>
    <a:fontScheme name="Benutzerdefiniert 16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46a56ff4-038c-43a1-8198-66df79d5b4f2">
      <Terms xmlns="http://schemas.microsoft.com/office/infopath/2007/PartnerControls"/>
    </lcf76f155ced4ddcb4097134ff3c332f>
    <TaxCatchAll xmlns="acc70353-449a-458c-af38-81fd801b6559" xsi:nil="true"/>
    <Uhrzeit xmlns="46a56ff4-038c-43a1-8198-66df79d5b4f2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75DC99EB5B522442BFB271BE36A4F819" ma:contentTypeVersion="17" ma:contentTypeDescription="Ein neues Dokument erstellen." ma:contentTypeScope="" ma:versionID="a70fb71c8d03ff12ade853dbdbf2954b">
  <xsd:schema xmlns:xsd="http://www.w3.org/2001/XMLSchema" xmlns:xs="http://www.w3.org/2001/XMLSchema" xmlns:p="http://schemas.microsoft.com/office/2006/metadata/properties" xmlns:ns2="46a56ff4-038c-43a1-8198-66df79d5b4f2" xmlns:ns3="acc70353-449a-458c-af38-81fd801b6559" targetNamespace="http://schemas.microsoft.com/office/2006/metadata/properties" ma:root="true" ma:fieldsID="3065265883915d1102bea8f7b0131355" ns2:_="" ns3:_="">
    <xsd:import namespace="46a56ff4-038c-43a1-8198-66df79d5b4f2"/>
    <xsd:import namespace="acc70353-449a-458c-af38-81fd801b65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LengthInSeconds" minOccurs="0"/>
                <xsd:element ref="ns2:Uhrzeit" minOccurs="0"/>
                <xsd:element ref="ns2:MediaServiceLocation" minOccurs="0"/>
                <xsd:element ref="ns2:lcf76f155ced4ddcb4097134ff3c332f" minOccurs="0"/>
                <xsd:element ref="ns3:TaxCatchAll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6a56ff4-038c-43a1-8198-66df79d5b4f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7" nillable="true" ma:displayName="Length (seconds)" ma:internalName="MediaLengthInSeconds" ma:readOnly="true">
      <xsd:simpleType>
        <xsd:restriction base="dms:Unknown"/>
      </xsd:simpleType>
    </xsd:element>
    <xsd:element name="Uhrzeit" ma:index="18" nillable="true" ma:displayName="Uhrzeit" ma:format="DateOnly" ma:internalName="Uhrzeit">
      <xsd:simpleType>
        <xsd:restriction base="dms:DateTime"/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1" nillable="true" ma:taxonomy="true" ma:internalName="lcf76f155ced4ddcb4097134ff3c332f" ma:taxonomyFieldName="MediaServiceImageTags" ma:displayName="Bildmarkierungen" ma:readOnly="false" ma:fieldId="{5cf76f15-5ced-4ddc-b409-7134ff3c332f}" ma:taxonomyMulti="true" ma:sspId="5e9485e2-df4f-4880-8a81-872be8114f56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AutoKeyPoints" ma:index="2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cc70353-449a-458c-af38-81fd801b6559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232400c1-fff9-468c-bdef-2fcd72bfa8a4}" ma:internalName="TaxCatchAll" ma:showField="CatchAllData" ma:web="acc70353-449a-458c-af38-81fd801b65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F2C2841-0540-41D5-A42D-78CD9F0569E8}">
  <ds:schemaRefs>
    <ds:schemaRef ds:uri="http://schemas.openxmlformats.org/package/2006/metadata/core-properties"/>
    <ds:schemaRef ds:uri="http://purl.org/dc/terms/"/>
    <ds:schemaRef ds:uri="http://schemas.microsoft.com/office/infopath/2007/PartnerControls"/>
    <ds:schemaRef ds:uri="537604c3-154b-4035-b093-5be09335f7d3"/>
    <ds:schemaRef ds:uri="http://schemas.microsoft.com/office/2006/documentManagement/types"/>
    <ds:schemaRef ds:uri="http://purl.org/dc/elements/1.1/"/>
    <ds:schemaRef ds:uri="http://schemas.microsoft.com/office/2006/metadata/properties"/>
    <ds:schemaRef ds:uri="bdee6f76-d579-4d1c-8d68-fdf3af6b9b57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CB624084-A823-4F3B-8929-22982EA65EC2}"/>
</file>

<file path=customXml/itemProps3.xml><?xml version="1.0" encoding="utf-8"?>
<ds:datastoreItem xmlns:ds="http://schemas.openxmlformats.org/officeDocument/2006/customXml" ds:itemID="{0C934841-C0DE-42A1-A262-7B61567347C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1902_Trumpf-Master_Dada_v9_Neues-Raster</Template>
  <TotalTime>0</TotalTime>
  <Words>974</Words>
  <Application>Microsoft Office PowerPoint</Application>
  <PresentationFormat>Breitbild</PresentationFormat>
  <Paragraphs>303</Paragraphs>
  <Slides>14</Slides>
  <Notes>1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4</vt:i4>
      </vt:variant>
    </vt:vector>
  </HeadingPairs>
  <TitlesOfParts>
    <vt:vector size="22" baseType="lpstr">
      <vt:lpstr>-apple-system</vt:lpstr>
      <vt:lpstr>Arial</vt:lpstr>
      <vt:lpstr>Gill Sans</vt:lpstr>
      <vt:lpstr>Questrial</vt:lpstr>
      <vt:lpstr>Segoe UI</vt:lpstr>
      <vt:lpstr>Wingdings</vt:lpstr>
      <vt:lpstr>Trumpf PowerPoint 2019</vt:lpstr>
      <vt:lpstr>think-cell Folie</vt:lpstr>
      <vt:lpstr>Vorstellung der internen LMF Serienbauteilfindung und Fertigung</vt:lpstr>
      <vt:lpstr>Vorstellung des Referenten</vt:lpstr>
      <vt:lpstr>Lean Green Digitial und Additive Manufacturing?</vt:lpstr>
      <vt:lpstr>Praktische Umsetzung eines „Wärmetauschers"</vt:lpstr>
      <vt:lpstr>Etablierung von Additive Manufacturing am Beispiel TRUMPF</vt:lpstr>
      <vt:lpstr>Ansatz für die Implementierung von AM</vt:lpstr>
      <vt:lpstr>Ansatz für die Implementierung von AM</vt:lpstr>
      <vt:lpstr>Ansatz für die Implementierung von AM</vt:lpstr>
      <vt:lpstr>AM-gerechte Bauteilgestaltung</vt:lpstr>
      <vt:lpstr>Interne Bauteilfindung und Serienfertigung</vt:lpstr>
      <vt:lpstr>Ausblick: Was können wir von AM erwarten?</vt:lpstr>
      <vt:lpstr>Ihre Take-Away‘s</vt:lpstr>
      <vt:lpstr>Ansprechpartner in Ditzinge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Überschrift in zwei Zeilen</dc:title>
  <dc:creator>Katharina Kampen</dc:creator>
  <cp:lastModifiedBy>Kieferle, Thomas</cp:lastModifiedBy>
  <cp:revision>87</cp:revision>
  <cp:lastPrinted>2019-01-11T14:04:50Z</cp:lastPrinted>
  <dcterms:created xsi:type="dcterms:W3CDTF">2019-04-11T08:14:40Z</dcterms:created>
  <dcterms:modified xsi:type="dcterms:W3CDTF">2023-04-21T05:17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5DC99EB5B522442BFB271BE36A4F819</vt:lpwstr>
  </property>
  <property fmtid="{D5CDD505-2E9C-101B-9397-08002B2CF9AE}" pid="3" name="MediaServiceImageTags">
    <vt:lpwstr/>
  </property>
</Properties>
</file>